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2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3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4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5.xml" ContentType="application/vnd.openxmlformats-officedocument.presentationml.notesSl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5" r:id="rId5"/>
  </p:sldMasterIdLst>
  <p:notesMasterIdLst>
    <p:notesMasterId r:id="rId12"/>
  </p:notesMasterIdLst>
  <p:handoutMasterIdLst>
    <p:handoutMasterId r:id="rId13"/>
  </p:handoutMasterIdLst>
  <p:sldIdLst>
    <p:sldId id="2147483647" r:id="rId6"/>
    <p:sldId id="319" r:id="rId7"/>
    <p:sldId id="318" r:id="rId8"/>
    <p:sldId id="261" r:id="rId9"/>
    <p:sldId id="293" r:id="rId10"/>
    <p:sldId id="2147483577" r:id="rId11"/>
  </p:sldIdLst>
  <p:sldSz cx="12192000" cy="6858000"/>
  <p:notesSz cx="6797675" cy="9926638"/>
  <p:custDataLst>
    <p:tags r:id="rId14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BCEC"/>
    <a:srgbClr val="7285E6"/>
    <a:srgbClr val="ABB6F2"/>
    <a:srgbClr val="ABB9FF"/>
    <a:srgbClr val="5C5C5C"/>
    <a:srgbClr val="FAEEC3"/>
    <a:srgbClr val="7FC99F"/>
    <a:srgbClr val="211E20"/>
    <a:srgbClr val="FFFFFF"/>
    <a:srgbClr val="F2D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E24F909-D935-4996-90A4-71969284DF1E}" v="53" dt="2026-06-02T14:13:42.120"/>
  </p1510:revLst>
</p1510:revInfo>
</file>

<file path=ppt/tableStyles.xml><?xml version="1.0" encoding="utf-8"?>
<a:tblStyleLst xmlns:a="http://schemas.openxmlformats.org/drawingml/2006/main" def="{2D5ABB26-0587-4C30-8999-92F81FD0307C}">
  <a:tblStyle styleId="{2D5ABB26-0587-4C30-8999-92F81FD0307C}" styleName="No Style, No Grid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/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rgbClr val="F30600"/>
          </a:solidFill>
        </a:fill>
      </a:tcStyle>
    </a:lastRow>
    <a:firstRow>
      <a:tcTxStyle b="on">
        <a:fontRef idx="minor"/>
        <a:srgbClr val="F30600"/>
      </a:tcTxStyle>
      <a:tcStyle>
        <a:tcBdr>
          <a:bottom>
            <a:ln w="19050" cmpd="sng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80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32" y="2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amith, Giovana" userId="4f59f0e9-cd79-4203-a06c-e5445c12fcf6" providerId="ADAL" clId="{BDBCC82F-937A-4328-90ED-49F583811C01}"/>
    <pc:docChg chg="custSel addSld delSld modSld">
      <pc:chgData name="Zamith, Giovana" userId="4f59f0e9-cd79-4203-a06c-e5445c12fcf6" providerId="ADAL" clId="{BDBCC82F-937A-4328-90ED-49F583811C01}" dt="2026-06-02T14:13:42.120" v="300"/>
      <pc:docMkLst>
        <pc:docMk/>
      </pc:docMkLst>
      <pc:sldChg chg="del">
        <pc:chgData name="Zamith, Giovana" userId="4f59f0e9-cd79-4203-a06c-e5445c12fcf6" providerId="ADAL" clId="{BDBCC82F-937A-4328-90ED-49F583811C01}" dt="2026-05-28T13:12:43.309" v="88" actId="47"/>
        <pc:sldMkLst>
          <pc:docMk/>
          <pc:sldMk cId="1865312769" sldId="256"/>
        </pc:sldMkLst>
      </pc:sldChg>
      <pc:sldChg chg="del">
        <pc:chgData name="Zamith, Giovana" userId="4f59f0e9-cd79-4203-a06c-e5445c12fcf6" providerId="ADAL" clId="{BDBCC82F-937A-4328-90ED-49F583811C01}" dt="2026-05-28T13:12:25.082" v="87" actId="47"/>
        <pc:sldMkLst>
          <pc:docMk/>
          <pc:sldMk cId="3932267900" sldId="257"/>
        </pc:sldMkLst>
      </pc:sldChg>
      <pc:sldChg chg="del">
        <pc:chgData name="Zamith, Giovana" userId="4f59f0e9-cd79-4203-a06c-e5445c12fcf6" providerId="ADAL" clId="{BDBCC82F-937A-4328-90ED-49F583811C01}" dt="2026-05-28T13:12:56.620" v="89" actId="47"/>
        <pc:sldMkLst>
          <pc:docMk/>
          <pc:sldMk cId="2148917229" sldId="258"/>
        </pc:sldMkLst>
      </pc:sldChg>
      <pc:sldChg chg="del">
        <pc:chgData name="Zamith, Giovana" userId="4f59f0e9-cd79-4203-a06c-e5445c12fcf6" providerId="ADAL" clId="{BDBCC82F-937A-4328-90ED-49F583811C01}" dt="2026-05-28T13:12:25.082" v="87" actId="47"/>
        <pc:sldMkLst>
          <pc:docMk/>
          <pc:sldMk cId="489030097" sldId="259"/>
        </pc:sldMkLst>
      </pc:sldChg>
      <pc:sldChg chg="del">
        <pc:chgData name="Zamith, Giovana" userId="4f59f0e9-cd79-4203-a06c-e5445c12fcf6" providerId="ADAL" clId="{BDBCC82F-937A-4328-90ED-49F583811C01}" dt="2026-05-28T13:12:25.082" v="87" actId="47"/>
        <pc:sldMkLst>
          <pc:docMk/>
          <pc:sldMk cId="1922870644" sldId="260"/>
        </pc:sldMkLst>
      </pc:sldChg>
      <pc:sldChg chg="modSp">
        <pc:chgData name="Zamith, Giovana" userId="4f59f0e9-cd79-4203-a06c-e5445c12fcf6" providerId="ADAL" clId="{BDBCC82F-937A-4328-90ED-49F583811C01}" dt="2026-06-01T16:25:25.336" v="227" actId="20577"/>
        <pc:sldMkLst>
          <pc:docMk/>
          <pc:sldMk cId="3952614102" sldId="261"/>
        </pc:sldMkLst>
        <pc:spChg chg="mod">
          <ac:chgData name="Zamith, Giovana" userId="4f59f0e9-cd79-4203-a06c-e5445c12fcf6" providerId="ADAL" clId="{BDBCC82F-937A-4328-90ED-49F583811C01}" dt="2026-06-01T16:25:25.336" v="227" actId="20577"/>
          <ac:spMkLst>
            <pc:docMk/>
            <pc:sldMk cId="3952614102" sldId="261"/>
            <ac:spMk id="48" creationId="{C9A6A8C2-F0BE-0559-46B0-E497DCA40926}"/>
          </ac:spMkLst>
        </pc:spChg>
      </pc:sldChg>
      <pc:sldChg chg="del">
        <pc:chgData name="Zamith, Giovana" userId="4f59f0e9-cd79-4203-a06c-e5445c12fcf6" providerId="ADAL" clId="{BDBCC82F-937A-4328-90ED-49F583811C01}" dt="2026-05-28T13:12:25.082" v="87" actId="47"/>
        <pc:sldMkLst>
          <pc:docMk/>
          <pc:sldMk cId="3285442817" sldId="262"/>
        </pc:sldMkLst>
      </pc:sldChg>
      <pc:sldChg chg="del">
        <pc:chgData name="Zamith, Giovana" userId="4f59f0e9-cd79-4203-a06c-e5445c12fcf6" providerId="ADAL" clId="{BDBCC82F-937A-4328-90ED-49F583811C01}" dt="2026-05-28T13:12:43.309" v="88" actId="47"/>
        <pc:sldMkLst>
          <pc:docMk/>
          <pc:sldMk cId="1328741101" sldId="263"/>
        </pc:sldMkLst>
      </pc:sldChg>
      <pc:sldChg chg="del">
        <pc:chgData name="Zamith, Giovana" userId="4f59f0e9-cd79-4203-a06c-e5445c12fcf6" providerId="ADAL" clId="{BDBCC82F-937A-4328-90ED-49F583811C01}" dt="2026-05-28T13:12:56.620" v="89" actId="47"/>
        <pc:sldMkLst>
          <pc:docMk/>
          <pc:sldMk cId="2760685100" sldId="264"/>
        </pc:sldMkLst>
      </pc:sldChg>
      <pc:sldChg chg="del">
        <pc:chgData name="Zamith, Giovana" userId="4f59f0e9-cd79-4203-a06c-e5445c12fcf6" providerId="ADAL" clId="{BDBCC82F-937A-4328-90ED-49F583811C01}" dt="2026-05-28T13:12:43.309" v="88" actId="47"/>
        <pc:sldMkLst>
          <pc:docMk/>
          <pc:sldMk cId="2644096751" sldId="265"/>
        </pc:sldMkLst>
      </pc:sldChg>
      <pc:sldChg chg="del">
        <pc:chgData name="Zamith, Giovana" userId="4f59f0e9-cd79-4203-a06c-e5445c12fcf6" providerId="ADAL" clId="{BDBCC82F-937A-4328-90ED-49F583811C01}" dt="2026-05-28T13:12:56.620" v="89" actId="47"/>
        <pc:sldMkLst>
          <pc:docMk/>
          <pc:sldMk cId="3836219466" sldId="266"/>
        </pc:sldMkLst>
      </pc:sldChg>
      <pc:sldChg chg="del">
        <pc:chgData name="Zamith, Giovana" userId="4f59f0e9-cd79-4203-a06c-e5445c12fcf6" providerId="ADAL" clId="{BDBCC82F-937A-4328-90ED-49F583811C01}" dt="2026-05-28T13:12:56.620" v="89" actId="47"/>
        <pc:sldMkLst>
          <pc:docMk/>
          <pc:sldMk cId="3151500674" sldId="267"/>
        </pc:sldMkLst>
      </pc:sldChg>
      <pc:sldChg chg="del">
        <pc:chgData name="Zamith, Giovana" userId="4f59f0e9-cd79-4203-a06c-e5445c12fcf6" providerId="ADAL" clId="{BDBCC82F-937A-4328-90ED-49F583811C01}" dt="2026-05-28T13:12:56.620" v="89" actId="47"/>
        <pc:sldMkLst>
          <pc:docMk/>
          <pc:sldMk cId="1057323074" sldId="268"/>
        </pc:sldMkLst>
      </pc:sldChg>
      <pc:sldChg chg="del">
        <pc:chgData name="Zamith, Giovana" userId="4f59f0e9-cd79-4203-a06c-e5445c12fcf6" providerId="ADAL" clId="{BDBCC82F-937A-4328-90ED-49F583811C01}" dt="2026-05-28T13:12:25.082" v="87" actId="47"/>
        <pc:sldMkLst>
          <pc:docMk/>
          <pc:sldMk cId="1571274744" sldId="269"/>
        </pc:sldMkLst>
      </pc:sldChg>
      <pc:sldChg chg="del">
        <pc:chgData name="Zamith, Giovana" userId="4f59f0e9-cd79-4203-a06c-e5445c12fcf6" providerId="ADAL" clId="{BDBCC82F-937A-4328-90ED-49F583811C01}" dt="2026-05-28T13:12:43.309" v="88" actId="47"/>
        <pc:sldMkLst>
          <pc:docMk/>
          <pc:sldMk cId="2024553647" sldId="270"/>
        </pc:sldMkLst>
      </pc:sldChg>
      <pc:sldChg chg="del">
        <pc:chgData name="Zamith, Giovana" userId="4f59f0e9-cd79-4203-a06c-e5445c12fcf6" providerId="ADAL" clId="{BDBCC82F-937A-4328-90ED-49F583811C01}" dt="2026-05-28T13:12:25.082" v="87" actId="47"/>
        <pc:sldMkLst>
          <pc:docMk/>
          <pc:sldMk cId="2182909144" sldId="276"/>
        </pc:sldMkLst>
      </pc:sldChg>
      <pc:sldChg chg="del">
        <pc:chgData name="Zamith, Giovana" userId="4f59f0e9-cd79-4203-a06c-e5445c12fcf6" providerId="ADAL" clId="{BDBCC82F-937A-4328-90ED-49F583811C01}" dt="2026-05-28T13:12:43.309" v="88" actId="47"/>
        <pc:sldMkLst>
          <pc:docMk/>
          <pc:sldMk cId="627887841" sldId="278"/>
        </pc:sldMkLst>
      </pc:sldChg>
      <pc:sldChg chg="del">
        <pc:chgData name="Zamith, Giovana" userId="4f59f0e9-cd79-4203-a06c-e5445c12fcf6" providerId="ADAL" clId="{BDBCC82F-937A-4328-90ED-49F583811C01}" dt="2026-05-28T13:12:43.309" v="88" actId="47"/>
        <pc:sldMkLst>
          <pc:docMk/>
          <pc:sldMk cId="3825378302" sldId="280"/>
        </pc:sldMkLst>
      </pc:sldChg>
      <pc:sldChg chg="del">
        <pc:chgData name="Zamith, Giovana" userId="4f59f0e9-cd79-4203-a06c-e5445c12fcf6" providerId="ADAL" clId="{BDBCC82F-937A-4328-90ED-49F583811C01}" dt="2026-05-28T13:17:04.432" v="220" actId="47"/>
        <pc:sldMkLst>
          <pc:docMk/>
          <pc:sldMk cId="1218959841" sldId="292"/>
        </pc:sldMkLst>
      </pc:sldChg>
      <pc:sldChg chg="addSp delSp modSp mod">
        <pc:chgData name="Zamith, Giovana" userId="4f59f0e9-cd79-4203-a06c-e5445c12fcf6" providerId="ADAL" clId="{BDBCC82F-937A-4328-90ED-49F583811C01}" dt="2026-06-02T14:11:57.439" v="299"/>
        <pc:sldMkLst>
          <pc:docMk/>
          <pc:sldMk cId="1541465416" sldId="293"/>
        </pc:sldMkLst>
        <pc:spChg chg="add del mod modVis">
          <ac:chgData name="Zamith, Giovana" userId="4f59f0e9-cd79-4203-a06c-e5445c12fcf6" providerId="ADAL" clId="{BDBCC82F-937A-4328-90ED-49F583811C01}" dt="2026-06-02T14:11:44.096" v="252"/>
          <ac:spMkLst>
            <pc:docMk/>
            <pc:sldMk cId="1541465416" sldId="293"/>
            <ac:spMk id="2" creationId="{5CFC8BE7-863C-6EB6-2680-1067E9075B92}"/>
          </ac:spMkLst>
        </pc:spChg>
        <pc:spChg chg="mod">
          <ac:chgData name="Zamith, Giovana" userId="4f59f0e9-cd79-4203-a06c-e5445c12fcf6" providerId="ADAL" clId="{BDBCC82F-937A-4328-90ED-49F583811C01}" dt="2026-06-02T14:11:57.439" v="297" actId="948"/>
          <ac:spMkLst>
            <pc:docMk/>
            <pc:sldMk cId="1541465416" sldId="293"/>
            <ac:spMk id="22" creationId="{9E509DB0-58F5-54A4-4297-43D021C2ED72}"/>
          </ac:spMkLst>
        </pc:spChg>
        <pc:graphicFrameChg chg="mod">
          <ac:chgData name="Zamith, Giovana" userId="4f59f0e9-cd79-4203-a06c-e5445c12fcf6" providerId="ADAL" clId="{BDBCC82F-937A-4328-90ED-49F583811C01}" dt="2026-06-02T14:11:57.439" v="299"/>
          <ac:graphicFrameMkLst>
            <pc:docMk/>
            <pc:sldMk cId="1541465416" sldId="293"/>
            <ac:graphicFrameMk id="32" creationId="{6ED731A6-A21B-C7B7-E393-56CC812290CB}"/>
          </ac:graphicFrameMkLst>
        </pc:graphicFrameChg>
      </pc:sldChg>
      <pc:sldChg chg="addSp delSp modSp add mod modAnim">
        <pc:chgData name="Zamith, Giovana" userId="4f59f0e9-cd79-4203-a06c-e5445c12fcf6" providerId="ADAL" clId="{BDBCC82F-937A-4328-90ED-49F583811C01}" dt="2026-06-02T14:13:42.120" v="300"/>
        <pc:sldMkLst>
          <pc:docMk/>
          <pc:sldMk cId="535971748" sldId="318"/>
        </pc:sldMkLst>
        <pc:spChg chg="mod">
          <ac:chgData name="Zamith, Giovana" userId="4f59f0e9-cd79-4203-a06c-e5445c12fcf6" providerId="ADAL" clId="{BDBCC82F-937A-4328-90ED-49F583811C01}" dt="2026-05-28T13:15:11.346" v="151" actId="948"/>
          <ac:spMkLst>
            <pc:docMk/>
            <pc:sldMk cId="535971748" sldId="318"/>
            <ac:spMk id="2" creationId="{1AA97298-87C2-3C36-FBA7-B7FBE0EFCB60}"/>
          </ac:spMkLst>
        </pc:spChg>
        <pc:spChg chg="add mod">
          <ac:chgData name="Zamith, Giovana" userId="4f59f0e9-cd79-4203-a06c-e5445c12fcf6" providerId="ADAL" clId="{BDBCC82F-937A-4328-90ED-49F583811C01}" dt="2026-06-02T14:13:42.120" v="300"/>
          <ac:spMkLst>
            <pc:docMk/>
            <pc:sldMk cId="535971748" sldId="318"/>
            <ac:spMk id="3" creationId="{4B0A7030-2028-949D-D7F7-7DB80731F0E6}"/>
          </ac:spMkLst>
        </pc:spChg>
        <pc:spChg chg="add mod">
          <ac:chgData name="Zamith, Giovana" userId="4f59f0e9-cd79-4203-a06c-e5445c12fcf6" providerId="ADAL" clId="{BDBCC82F-937A-4328-90ED-49F583811C01}" dt="2026-06-02T14:13:42.120" v="300"/>
          <ac:spMkLst>
            <pc:docMk/>
            <pc:sldMk cId="535971748" sldId="318"/>
            <ac:spMk id="4" creationId="{C70475DD-76E8-780D-327D-30DEC14C8E98}"/>
          </ac:spMkLst>
        </pc:spChg>
        <pc:spChg chg="add mod">
          <ac:chgData name="Zamith, Giovana" userId="4f59f0e9-cd79-4203-a06c-e5445c12fcf6" providerId="ADAL" clId="{BDBCC82F-937A-4328-90ED-49F583811C01}" dt="2026-06-02T14:13:42.120" v="300"/>
          <ac:spMkLst>
            <pc:docMk/>
            <pc:sldMk cId="535971748" sldId="318"/>
            <ac:spMk id="5" creationId="{9E25342F-E9DE-1B05-390F-7181A8158FAB}"/>
          </ac:spMkLst>
        </pc:spChg>
        <pc:spChg chg="mod">
          <ac:chgData name="Zamith, Giovana" userId="4f59f0e9-cd79-4203-a06c-e5445c12fcf6" providerId="ADAL" clId="{BDBCC82F-937A-4328-90ED-49F583811C01}" dt="2026-05-28T13:16:04.344" v="215" actId="1035"/>
          <ac:spMkLst>
            <pc:docMk/>
            <pc:sldMk cId="535971748" sldId="318"/>
            <ac:spMk id="140" creationId="{A0FC2CC5-40B9-277E-4D69-F2A5EED26877}"/>
          </ac:spMkLst>
        </pc:spChg>
        <pc:spChg chg="mod">
          <ac:chgData name="Zamith, Giovana" userId="4f59f0e9-cd79-4203-a06c-e5445c12fcf6" providerId="ADAL" clId="{BDBCC82F-937A-4328-90ED-49F583811C01}" dt="2026-05-28T13:16:24.370" v="218" actId="14100"/>
          <ac:spMkLst>
            <pc:docMk/>
            <pc:sldMk cId="535971748" sldId="318"/>
            <ac:spMk id="163" creationId="{6A5B75B0-E5E9-6FB4-CD57-0A2FE1B692C9}"/>
          </ac:spMkLst>
        </pc:spChg>
        <pc:spChg chg="mod">
          <ac:chgData name="Zamith, Giovana" userId="4f59f0e9-cd79-4203-a06c-e5445c12fcf6" providerId="ADAL" clId="{BDBCC82F-937A-4328-90ED-49F583811C01}" dt="2026-05-28T13:16:32.942" v="219" actId="14100"/>
          <ac:spMkLst>
            <pc:docMk/>
            <pc:sldMk cId="535971748" sldId="318"/>
            <ac:spMk id="164" creationId="{F16D9C7B-DCF3-FEB0-30CC-97EEC0745147}"/>
          </ac:spMkLst>
        </pc:spChg>
        <pc:graphicFrameChg chg="mod modGraphic">
          <ac:chgData name="Zamith, Giovana" userId="4f59f0e9-cd79-4203-a06c-e5445c12fcf6" providerId="ADAL" clId="{BDBCC82F-937A-4328-90ED-49F583811C01}" dt="2026-05-28T13:15:45.986" v="202" actId="1037"/>
          <ac:graphicFrameMkLst>
            <pc:docMk/>
            <pc:sldMk cId="535971748" sldId="318"/>
            <ac:graphicFrameMk id="13" creationId="{EB4201E1-2EA4-AF9B-36B1-D3881BC3C9F6}"/>
          </ac:graphicFrameMkLst>
        </pc:graphicFrameChg>
        <pc:graphicFrameChg chg="mod">
          <ac:chgData name="Zamith, Giovana" userId="4f59f0e9-cd79-4203-a06c-e5445c12fcf6" providerId="ADAL" clId="{BDBCC82F-937A-4328-90ED-49F583811C01}" dt="2026-05-28T13:15:11.355" v="153"/>
          <ac:graphicFrameMkLst>
            <pc:docMk/>
            <pc:sldMk cId="535971748" sldId="318"/>
            <ac:graphicFrameMk id="138" creationId="{BD6BEC9B-800A-812F-4757-4393C5AEC5E8}"/>
          </ac:graphicFrameMkLst>
        </pc:graphicFrameChg>
        <pc:picChg chg="mod">
          <ac:chgData name="Zamith, Giovana" userId="4f59f0e9-cd79-4203-a06c-e5445c12fcf6" providerId="ADAL" clId="{BDBCC82F-937A-4328-90ED-49F583811C01}" dt="2026-05-28T13:15:20.968" v="168" actId="1035"/>
          <ac:picMkLst>
            <pc:docMk/>
            <pc:sldMk cId="535971748" sldId="318"/>
            <ac:picMk id="33" creationId="{8B48439D-3FEE-C033-A034-B38D5C607E0A}"/>
          </ac:picMkLst>
        </pc:picChg>
        <pc:picChg chg="mod">
          <ac:chgData name="Zamith, Giovana" userId="4f59f0e9-cd79-4203-a06c-e5445c12fcf6" providerId="ADAL" clId="{BDBCC82F-937A-4328-90ED-49F583811C01}" dt="2026-05-28T13:15:20.968" v="168" actId="1035"/>
          <ac:picMkLst>
            <pc:docMk/>
            <pc:sldMk cId="535971748" sldId="318"/>
            <ac:picMk id="83" creationId="{D6B71036-6AEB-961B-1039-2639240F6C19}"/>
          </ac:picMkLst>
        </pc:picChg>
        <pc:picChg chg="mod">
          <ac:chgData name="Zamith, Giovana" userId="4f59f0e9-cd79-4203-a06c-e5445c12fcf6" providerId="ADAL" clId="{BDBCC82F-937A-4328-90ED-49F583811C01}" dt="2026-05-28T13:15:20.968" v="168" actId="1035"/>
          <ac:picMkLst>
            <pc:docMk/>
            <pc:sldMk cId="535971748" sldId="318"/>
            <ac:picMk id="92" creationId="{7DCFC251-5841-047F-C8C1-FBB574CFE763}"/>
          </ac:picMkLst>
        </pc:picChg>
        <pc:picChg chg="mod">
          <ac:chgData name="Zamith, Giovana" userId="4f59f0e9-cd79-4203-a06c-e5445c12fcf6" providerId="ADAL" clId="{BDBCC82F-937A-4328-90ED-49F583811C01}" dt="2026-05-28T13:15:20.968" v="168" actId="1035"/>
          <ac:picMkLst>
            <pc:docMk/>
            <pc:sldMk cId="535971748" sldId="318"/>
            <ac:picMk id="98" creationId="{7B8CD8CB-9883-1FB8-36E6-B243685CC65E}"/>
          </ac:picMkLst>
        </pc:picChg>
        <pc:picChg chg="mod">
          <ac:chgData name="Zamith, Giovana" userId="4f59f0e9-cd79-4203-a06c-e5445c12fcf6" providerId="ADAL" clId="{BDBCC82F-937A-4328-90ED-49F583811C01}" dt="2026-05-28T13:15:20.968" v="168" actId="1035"/>
          <ac:picMkLst>
            <pc:docMk/>
            <pc:sldMk cId="535971748" sldId="318"/>
            <ac:picMk id="111" creationId="{371E5093-3463-9650-4104-033D3FEED35D}"/>
          </ac:picMkLst>
        </pc:picChg>
        <pc:picChg chg="mod">
          <ac:chgData name="Zamith, Giovana" userId="4f59f0e9-cd79-4203-a06c-e5445c12fcf6" providerId="ADAL" clId="{BDBCC82F-937A-4328-90ED-49F583811C01}" dt="2026-05-28T13:15:20.968" v="168" actId="1035"/>
          <ac:picMkLst>
            <pc:docMk/>
            <pc:sldMk cId="535971748" sldId="318"/>
            <ac:picMk id="117" creationId="{0E9AA817-76EC-4248-F470-F0662B5BA99E}"/>
          </ac:picMkLst>
        </pc:picChg>
        <pc:picChg chg="mod">
          <ac:chgData name="Zamith, Giovana" userId="4f59f0e9-cd79-4203-a06c-e5445c12fcf6" providerId="ADAL" clId="{BDBCC82F-937A-4328-90ED-49F583811C01}" dt="2026-05-28T13:15:20.968" v="168" actId="1035"/>
          <ac:picMkLst>
            <pc:docMk/>
            <pc:sldMk cId="535971748" sldId="318"/>
            <ac:picMk id="123" creationId="{06E47DC7-BABB-AF81-2BC6-44210D92BB09}"/>
          </ac:picMkLst>
        </pc:picChg>
      </pc:sldChg>
      <pc:sldChg chg="delSp modSp add mod">
        <pc:chgData name="Zamith, Giovana" userId="4f59f0e9-cd79-4203-a06c-e5445c12fcf6" providerId="ADAL" clId="{BDBCC82F-937A-4328-90ED-49F583811C01}" dt="2026-05-28T13:20:24.579" v="224" actId="20577"/>
        <pc:sldMkLst>
          <pc:docMk/>
          <pc:sldMk cId="4141650317" sldId="319"/>
        </pc:sldMkLst>
        <pc:spChg chg="mod">
          <ac:chgData name="Zamith, Giovana" userId="4f59f0e9-cd79-4203-a06c-e5445c12fcf6" providerId="ADAL" clId="{BDBCC82F-937A-4328-90ED-49F583811C01}" dt="2026-05-28T13:20:24.579" v="224" actId="20577"/>
          <ac:spMkLst>
            <pc:docMk/>
            <pc:sldMk cId="4141650317" sldId="319"/>
            <ac:spMk id="16" creationId="{38C5FCB9-FE02-1D7E-3772-E9B2FA93A076}"/>
          </ac:spMkLst>
        </pc:spChg>
      </pc:sldChg>
      <pc:sldChg chg="del">
        <pc:chgData name="Zamith, Giovana" userId="4f59f0e9-cd79-4203-a06c-e5445c12fcf6" providerId="ADAL" clId="{BDBCC82F-937A-4328-90ED-49F583811C01}" dt="2026-05-28T13:12:25.082" v="87" actId="47"/>
        <pc:sldMkLst>
          <pc:docMk/>
          <pc:sldMk cId="1148013098" sldId="2147483565"/>
        </pc:sldMkLst>
      </pc:sldChg>
      <pc:sldChg chg="del">
        <pc:chgData name="Zamith, Giovana" userId="4f59f0e9-cd79-4203-a06c-e5445c12fcf6" providerId="ADAL" clId="{BDBCC82F-937A-4328-90ED-49F583811C01}" dt="2026-05-28T13:13:04.374" v="90" actId="47"/>
        <pc:sldMkLst>
          <pc:docMk/>
          <pc:sldMk cId="3009000" sldId="2147483574"/>
        </pc:sldMkLst>
      </pc:sldChg>
      <pc:sldChg chg="del">
        <pc:chgData name="Zamith, Giovana" userId="4f59f0e9-cd79-4203-a06c-e5445c12fcf6" providerId="ADAL" clId="{BDBCC82F-937A-4328-90ED-49F583811C01}" dt="2026-05-28T13:12:25.082" v="87" actId="47"/>
        <pc:sldMkLst>
          <pc:docMk/>
          <pc:sldMk cId="3336205866" sldId="2147483620"/>
        </pc:sldMkLst>
      </pc:sldChg>
      <pc:sldChg chg="del">
        <pc:chgData name="Zamith, Giovana" userId="4f59f0e9-cd79-4203-a06c-e5445c12fcf6" providerId="ADAL" clId="{BDBCC82F-937A-4328-90ED-49F583811C01}" dt="2026-05-28T13:12:25.082" v="87" actId="47"/>
        <pc:sldMkLst>
          <pc:docMk/>
          <pc:sldMk cId="1858905879" sldId="2147483639"/>
        </pc:sldMkLst>
      </pc:sldChg>
      <pc:sldChg chg="modSp mod">
        <pc:chgData name="Zamith, Giovana" userId="4f59f0e9-cd79-4203-a06c-e5445c12fcf6" providerId="ADAL" clId="{BDBCC82F-937A-4328-90ED-49F583811C01}" dt="2026-05-28T13:11:40.109" v="86"/>
        <pc:sldMkLst>
          <pc:docMk/>
          <pc:sldMk cId="2768248873" sldId="2147483647"/>
        </pc:sldMkLst>
        <pc:spChg chg="mod">
          <ac:chgData name="Zamith, Giovana" userId="4f59f0e9-cd79-4203-a06c-e5445c12fcf6" providerId="ADAL" clId="{BDBCC82F-937A-4328-90ED-49F583811C01}" dt="2026-05-28T13:11:40.089" v="84" actId="1035"/>
          <ac:spMkLst>
            <pc:docMk/>
            <pc:sldMk cId="2768248873" sldId="2147483647"/>
            <ac:spMk id="107" creationId="{45CE3A1E-E699-48AC-810E-245504D9415B}"/>
          </ac:spMkLst>
        </pc:spChg>
        <pc:spChg chg="mod">
          <ac:chgData name="Zamith, Giovana" userId="4f59f0e9-cd79-4203-a06c-e5445c12fcf6" providerId="ADAL" clId="{BDBCC82F-937A-4328-90ED-49F583811C01}" dt="2026-05-28T13:10:57.225" v="5" actId="20577"/>
          <ac:spMkLst>
            <pc:docMk/>
            <pc:sldMk cId="2768248873" sldId="2147483647"/>
            <ac:spMk id="129" creationId="{63CAC743-12E8-A612-0740-39D2A4888D7A}"/>
          </ac:spMkLst>
        </pc:spChg>
        <pc:graphicFrameChg chg="mod">
          <ac:chgData name="Zamith, Giovana" userId="4f59f0e9-cd79-4203-a06c-e5445c12fcf6" providerId="ADAL" clId="{BDBCC82F-937A-4328-90ED-49F583811C01}" dt="2026-05-28T13:11:40.109" v="86"/>
          <ac:graphicFrameMkLst>
            <pc:docMk/>
            <pc:sldMk cId="2768248873" sldId="2147483647"/>
            <ac:graphicFrameMk id="24" creationId="{9B623090-7769-9BEA-DFBF-E6D6BFEF7378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F3F8DFF-D804-40D4-8B6D-4B082195B9C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35CACC-64C5-25DB-9A94-B344DFCCDFF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677E0B-5A38-4252-9789-D5624194F620}" type="datetimeFigureOut">
              <a:rPr kumimoji="1" lang="en-US" smtClean="0"/>
              <a:t>6/2/2026</a:t>
            </a:fld>
            <a:endParaRPr kumimoji="1"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B89E1F-B088-DEF1-1588-66B3EB965C7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A7F5B7-D38B-C632-1FFF-9F20D1D5283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03773A-8DF2-43FB-AD00-641C6E2FCD25}" type="slidenum">
              <a:rPr kumimoji="1" lang="en-US" smtClean="0"/>
              <a:t>‹#›</a:t>
            </a:fld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320926224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6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6228A4-7F70-4289-BAEC-7A61D9404710}" type="datetimeFigureOut">
              <a:rPr lang="pt-BR" smtClean="0"/>
              <a:t>02/06/2026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E32AF4-8019-4D5E-9A1B-7623BB1151B5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414804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slide" Target="../slides/slide4.xml"/><Relationship Id="rId4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5" Type="http://schemas.openxmlformats.org/officeDocument/2006/relationships/slide" Target="../slides/slide5.xml"/><Relationship Id="rId4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E32AF4-8019-4D5E-9A1B-7623BB1151B5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28295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447D75-4734-FB5C-EF88-CBC5D07CEC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FBCABF-4956-C081-FEAF-9FED9FA1D3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8D24B5-CB1E-85AC-FD8C-D11D6147F6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E93D4A-33A3-C700-B892-4ACD252025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90E32AF4-8019-4D5E-9A1B-7623BB1151B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4157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6B497C0C-5D58-44DA-9D52-CFFC4464BFF9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15442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pPr marL="0" lvl="0" indent="0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Font typeface="Symbol" panose="05050102010706020507" pitchFamily="18" charset="2"/>
              <a:buNone/>
            </a:pPr>
            <a:endParaRPr lang="pt-BR" sz="1800" kern="100">
              <a:effectLst/>
              <a:latin typeface="Aptos" panose="020B00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fld id="{CF5EBCF4-26FC-4F76-8DA1-52FDDC328D44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Char char="•"/>
                <a:defRPr/>
              </a:pPr>
              <a:t>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7653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pPr marL="0" lvl="0" indent="0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Font typeface="Symbol" panose="05050102010706020507" pitchFamily="18" charset="2"/>
              <a:buNone/>
            </a:pPr>
            <a:endParaRPr lang="pt-BR" sz="1800" kern="100">
              <a:effectLst/>
              <a:latin typeface="Aptos" panose="020B00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fld id="{CF5EBCF4-26FC-4F76-8DA1-52FDDC328D44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Char char="•"/>
                <a:defRPr/>
              </a:pPr>
              <a:t>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05438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E32AF4-8019-4D5E-9A1B-7623BB1151B5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79279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oleObject" Target="../embeddings/oleObject2.bin"/><Relationship Id="rId18" Type="http://schemas.openxmlformats.org/officeDocument/2006/relationships/image" Target="../media/image6.jpe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slideMaster" Target="../slideMasters/slideMaster1.xml"/><Relationship Id="rId17" Type="http://schemas.openxmlformats.org/officeDocument/2006/relationships/image" Target="../media/image5.jpeg"/><Relationship Id="rId2" Type="http://schemas.openxmlformats.org/officeDocument/2006/relationships/tags" Target="../tags/tag6.xml"/><Relationship Id="rId16" Type="http://schemas.openxmlformats.org/officeDocument/2006/relationships/image" Target="../media/image4.jpeg"/><Relationship Id="rId20" Type="http://schemas.openxmlformats.org/officeDocument/2006/relationships/image" Target="../media/image8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image" Target="../media/image3.jpeg"/><Relationship Id="rId10" Type="http://schemas.openxmlformats.org/officeDocument/2006/relationships/tags" Target="../tags/tag14.xml"/><Relationship Id="rId19" Type="http://schemas.openxmlformats.org/officeDocument/2006/relationships/image" Target="../media/image7.jpeg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0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oleObject" Target="../embeddings/oleObject2.bin"/><Relationship Id="rId18" Type="http://schemas.openxmlformats.org/officeDocument/2006/relationships/image" Target="../media/image6.jpeg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slideMaster" Target="../slideMasters/slideMaster2.xml"/><Relationship Id="rId17" Type="http://schemas.openxmlformats.org/officeDocument/2006/relationships/image" Target="../media/image5.jpeg"/><Relationship Id="rId2" Type="http://schemas.openxmlformats.org/officeDocument/2006/relationships/tags" Target="../tags/tag29.xml"/><Relationship Id="rId16" Type="http://schemas.openxmlformats.org/officeDocument/2006/relationships/image" Target="../media/image4.jpeg"/><Relationship Id="rId20" Type="http://schemas.openxmlformats.org/officeDocument/2006/relationships/image" Target="../media/image8.png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image" Target="../media/image3.jpeg"/><Relationship Id="rId10" Type="http://schemas.openxmlformats.org/officeDocument/2006/relationships/tags" Target="../tags/tag37.xml"/><Relationship Id="rId19" Type="http://schemas.openxmlformats.org/officeDocument/2006/relationships/image" Target="../media/image7.jpeg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1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0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think-cell data - do not delete" hidden="1">
            <a:extLst>
              <a:ext uri="{FF2B5EF4-FFF2-40B4-BE49-F238E27FC236}">
                <a16:creationId xmlns:a16="http://schemas.microsoft.com/office/drawing/2014/main" id="{518DA0D3-8D5C-6FD6-13C9-88D36F085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0564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606" imgH="608" progId="TCLayout.ActiveDocument.1">
                  <p:embed/>
                </p:oleObj>
              </mc:Choice>
              <mc:Fallback>
                <p:oleObj name="think-cell Slide" r:id="rId13" imgW="606" imgH="608" progId="TCLayout.ActiveDocument.1">
                  <p:embed/>
                  <p:pic>
                    <p:nvPicPr>
                      <p:cNvPr id="3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8DA0D3-8D5C-6FD6-13C9-88D36F085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306B2134-A0E7-9994-A0E5-E67F8ED36500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04" b="8583"/>
          <a:stretch>
            <a:fillRect/>
          </a:stretch>
        </p:blipFill>
        <p:spPr>
          <a:xfrm>
            <a:off x="2108200" y="0"/>
            <a:ext cx="10083799" cy="5495925"/>
          </a:xfrm>
          <a:prstGeom prst="rect">
            <a:avLst/>
          </a:prstGeom>
        </p:spPr>
      </p:pic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B239A2E-40DB-4FBB-8F2F-92E21D0FF78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6201282" cy="6858000"/>
          </a:xfrm>
          <a:custGeom>
            <a:avLst/>
            <a:gdLst>
              <a:gd name="connsiteX0" fmla="*/ 0 w 4041874"/>
              <a:gd name="connsiteY0" fmla="*/ 0 h 4469909"/>
              <a:gd name="connsiteX1" fmla="*/ 0 w 4041874"/>
              <a:gd name="connsiteY1" fmla="*/ 4469910 h 4469909"/>
              <a:gd name="connsiteX2" fmla="*/ 4041874 w 4041874"/>
              <a:gd name="connsiteY2" fmla="*/ 4469910 h 4469909"/>
              <a:gd name="connsiteX3" fmla="*/ 1383396 w 4041874"/>
              <a:gd name="connsiteY3" fmla="*/ 0 h 4469909"/>
              <a:gd name="connsiteX4" fmla="*/ 0 w 4041874"/>
              <a:gd name="connsiteY4" fmla="*/ 0 h 4469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41873" h="4469909">
                <a:moveTo>
                  <a:pt x="0" y="0"/>
                </a:moveTo>
                <a:lnTo>
                  <a:pt x="0" y="4469910"/>
                </a:lnTo>
                <a:lnTo>
                  <a:pt x="4041874" y="4469910"/>
                </a:lnTo>
                <a:lnTo>
                  <a:pt x="138339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E00"/>
          </a:solidFill>
          <a:ln w="4138" cap="flat">
            <a:noFill/>
            <a:prstDash val="solid"/>
            <a:miter/>
          </a:ln>
        </p:spPr>
        <p:txBody>
          <a:bodyPr rtlCol="0" anchor="ctr"/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211E2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A9EBD8D3-A040-9F4A-195A-D601F6CD99A1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4280810"/>
            <a:ext cx="4272039" cy="2577190"/>
          </a:xfrm>
          <a:custGeom>
            <a:avLst/>
            <a:gdLst>
              <a:gd name="connsiteX0" fmla="*/ 639479 w 4272039"/>
              <a:gd name="connsiteY0" fmla="*/ 0 h 2577190"/>
              <a:gd name="connsiteX1" fmla="*/ 4190191 w 4272039"/>
              <a:gd name="connsiteY1" fmla="*/ 2353565 h 2577190"/>
              <a:gd name="connsiteX2" fmla="*/ 4272039 w 4272039"/>
              <a:gd name="connsiteY2" fmla="*/ 2577190 h 2577190"/>
              <a:gd name="connsiteX3" fmla="*/ 0 w 4272039"/>
              <a:gd name="connsiteY3" fmla="*/ 2577190 h 2577190"/>
              <a:gd name="connsiteX4" fmla="*/ 0 w 4272039"/>
              <a:gd name="connsiteY4" fmla="*/ 53798 h 2577190"/>
              <a:gd name="connsiteX5" fmla="*/ 52621 w 4272039"/>
              <a:gd name="connsiteY5" fmla="*/ 44401 h 2577190"/>
              <a:gd name="connsiteX6" fmla="*/ 639479 w 4272039"/>
              <a:gd name="connsiteY6" fmla="*/ 0 h 2577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2039" h="2577190">
                <a:moveTo>
                  <a:pt x="639479" y="0"/>
                </a:moveTo>
                <a:cubicBezTo>
                  <a:pt x="2235677" y="0"/>
                  <a:pt x="3605195" y="970469"/>
                  <a:pt x="4190191" y="2353565"/>
                </a:cubicBezTo>
                <a:lnTo>
                  <a:pt x="4272039" y="2577190"/>
                </a:lnTo>
                <a:lnTo>
                  <a:pt x="0" y="2577190"/>
                </a:lnTo>
                <a:lnTo>
                  <a:pt x="0" y="53798"/>
                </a:lnTo>
                <a:lnTo>
                  <a:pt x="52621" y="44401"/>
                </a:lnTo>
                <a:cubicBezTo>
                  <a:pt x="243972" y="15164"/>
                  <a:pt x="439955" y="0"/>
                  <a:pt x="639479" y="0"/>
                </a:cubicBezTo>
                <a:close/>
              </a:path>
            </a:pathLst>
          </a:custGeom>
          <a:solidFill>
            <a:srgbClr val="183EFF"/>
          </a:solidFill>
          <a:ln w="413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1A57E67-3810-89C1-44EB-EF4C1082E40C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5391188" y="5495925"/>
            <a:ext cx="6800812" cy="13620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5E8C034-8208-78DA-A18B-465D9CA513F6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5391188" y="5495925"/>
            <a:ext cx="810094" cy="1362075"/>
          </a:xfrm>
          <a:custGeom>
            <a:avLst/>
            <a:gdLst>
              <a:gd name="connsiteX0" fmla="*/ 0 w 704300"/>
              <a:gd name="connsiteY0" fmla="*/ 1184195 h 1184194"/>
              <a:gd name="connsiteX1" fmla="*/ 704300 w 704300"/>
              <a:gd name="connsiteY1" fmla="*/ 1184195 h 1184194"/>
              <a:gd name="connsiteX2" fmla="*/ 0 w 704300"/>
              <a:gd name="connsiteY2" fmla="*/ 0 h 1184194"/>
              <a:gd name="connsiteX3" fmla="*/ 0 w 704300"/>
              <a:gd name="connsiteY3" fmla="*/ 1184195 h 118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300" h="1184194">
                <a:moveTo>
                  <a:pt x="0" y="1184195"/>
                </a:moveTo>
                <a:lnTo>
                  <a:pt x="704300" y="1184195"/>
                </a:lnTo>
                <a:lnTo>
                  <a:pt x="0" y="0"/>
                </a:lnTo>
                <a:lnTo>
                  <a:pt x="0" y="1184195"/>
                </a:lnTo>
                <a:close/>
              </a:path>
            </a:pathLst>
          </a:custGeom>
          <a:solidFill>
            <a:srgbClr val="00CE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0" name="Picture 29" descr="A black background with colorful letters&#10;&#10;Description automatically generated">
            <a:extLst>
              <a:ext uri="{FF2B5EF4-FFF2-40B4-BE49-F238E27FC236}">
                <a16:creationId xmlns:a16="http://schemas.microsoft.com/office/drawing/2014/main" id="{CDDDDFEA-B109-BC05-84F5-F9DE98F5A9CB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6847" y="5846490"/>
            <a:ext cx="1060191" cy="832172"/>
          </a:xfrm>
          <a:prstGeom prst="rect">
            <a:avLst/>
          </a:prstGeom>
        </p:spPr>
      </p:pic>
      <p:pic>
        <p:nvPicPr>
          <p:cNvPr id="31" name="Picture 30" descr="A black background with colorful letters&#10;&#10;Description automatically generated">
            <a:extLst>
              <a:ext uri="{FF2B5EF4-FFF2-40B4-BE49-F238E27FC236}">
                <a16:creationId xmlns:a16="http://schemas.microsoft.com/office/drawing/2014/main" id="{A3F8CC79-5E0B-5BB5-90D9-55F9F3CAF7BB}"/>
              </a:ext>
            </a:extLst>
          </p:cNvPr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3101" y="5629542"/>
            <a:ext cx="1095105" cy="1049120"/>
          </a:xfrm>
          <a:prstGeom prst="rect">
            <a:avLst/>
          </a:prstGeom>
        </p:spPr>
      </p:pic>
      <p:pic>
        <p:nvPicPr>
          <p:cNvPr id="32" name="Picture 31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D7C5E51C-7071-D8B8-313D-8BCB95BC632B}"/>
              </a:ext>
            </a:extLst>
          </p:cNvPr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4269" y="5739635"/>
            <a:ext cx="1057016" cy="939027"/>
          </a:xfrm>
          <a:prstGeom prst="rect">
            <a:avLst/>
          </a:prstGeom>
        </p:spPr>
      </p:pic>
      <p:pic>
        <p:nvPicPr>
          <p:cNvPr id="33" name="Picture 32" descr="A logo with colorful letters&#10;&#10;Description automatically generated">
            <a:extLst>
              <a:ext uri="{FF2B5EF4-FFF2-40B4-BE49-F238E27FC236}">
                <a16:creationId xmlns:a16="http://schemas.microsoft.com/office/drawing/2014/main" id="{1B7D5D78-755F-47E7-55DF-2D484942AAC1}"/>
              </a:ext>
            </a:extLst>
          </p:cNvPr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7349" y="5846490"/>
            <a:ext cx="1060191" cy="832172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46101" y="5968258"/>
            <a:ext cx="2133599" cy="44203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spc="300" baseline="0">
                <a:solidFill>
                  <a:srgbClr val="FFFFF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DATE</a:t>
            </a:r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A528EEC8-F0ED-4F39-246B-AE0C38B548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6100" y="1430724"/>
            <a:ext cx="2984500" cy="1328420"/>
          </a:xfrm>
        </p:spPr>
        <p:txBody>
          <a:bodyPr lIns="36576" tIns="36576" rIns="36576" bIns="36576"/>
          <a:lstStyle>
            <a:lvl1pPr marL="0" indent="0">
              <a:buNone/>
              <a:defRPr sz="8800" b="1" spc="300" baseline="0">
                <a:solidFill>
                  <a:srgbClr val="211E20"/>
                </a:solidFill>
                <a:latin typeface="+mj-lt"/>
              </a:defRPr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</a:lstStyle>
          <a:p>
            <a:pPr lvl="0"/>
            <a:r>
              <a:rPr kumimoji="1" lang="en-US"/>
              <a:t>BI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12AC87-5911-D2AD-FCE1-FF96AC4ADF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6100" y="2844037"/>
            <a:ext cx="2984500" cy="9492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rgbClr val="211E2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/>
              <a:t>Brazil Climate and</a:t>
            </a:r>
            <a:br>
              <a:rPr kumimoji="1" lang="en-US"/>
            </a:br>
            <a:r>
              <a:rPr kumimoji="1" lang="en-US"/>
              <a:t>Ecological Transformation</a:t>
            </a:r>
            <a:br>
              <a:rPr kumimoji="1" lang="en-US"/>
            </a:br>
            <a:r>
              <a:rPr kumimoji="1" lang="en-US"/>
              <a:t>Investment Platform</a:t>
            </a:r>
          </a:p>
        </p:txBody>
      </p:sp>
      <p:sp>
        <p:nvSpPr>
          <p:cNvPr id="2" name="Draft">
            <a:extLst>
              <a:ext uri="{FF2B5EF4-FFF2-40B4-BE49-F238E27FC236}">
                <a16:creationId xmlns:a16="http://schemas.microsoft.com/office/drawing/2014/main" id="{9DE2550D-937E-0EAE-469F-D7AE45F54946}"/>
              </a:ext>
            </a:extLst>
          </p:cNvPr>
          <p:cNvSpPr txBox="1"/>
          <p:nvPr userDrawn="1"/>
        </p:nvSpPr>
        <p:spPr bwMode="gray">
          <a:xfrm>
            <a:off x="546100" y="3833103"/>
            <a:ext cx="984565" cy="307777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marL="0" indent="0" algn="l" ea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kumimoji="1" lang="en-US" sz="1400" b="1" cap="all" spc="300">
                <a:solidFill>
                  <a:schemeClr val="dk1"/>
                </a:solidFill>
              </a:rPr>
              <a:t>Draft</a:t>
            </a:r>
          </a:p>
        </p:txBody>
      </p:sp>
      <p:pic>
        <p:nvPicPr>
          <p:cNvPr id="15" name="Picture 14" descr="A logo with blue green yellow and blue text&#10;&#10;Description automatically generated">
            <a:extLst>
              <a:ext uri="{FF2B5EF4-FFF2-40B4-BE49-F238E27FC236}">
                <a16:creationId xmlns:a16="http://schemas.microsoft.com/office/drawing/2014/main" id="{A377992F-1B10-2B89-9A22-C20B3873B7F2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100" y="254116"/>
            <a:ext cx="1647515" cy="9267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978D5C5-9C8A-66A6-8298-6C7A0427D7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5269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78D5C5-9C8A-66A6-8298-6C7A0427D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E8161C74-B293-A250-B34C-EE49BE1D95C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82372"/>
            <a:ext cx="11082528" cy="1051116"/>
          </a:xfrm>
        </p:spPr>
        <p:txBody>
          <a:bodyPr vert="horz" lIns="36000" tIns="36000" rIns="36000" bIns="36000">
            <a:normAutofit/>
          </a:bodyPr>
          <a:lstStyle>
            <a:lvl1pPr>
              <a:defRPr lang="en-US" sz="2400" b="1" i="0" kern="1200" spc="0" baseline="0">
                <a:ln w="6350" cap="flat">
                  <a:noFill/>
                  <a:miter lim="800000"/>
                </a:ln>
                <a:solidFill>
                  <a:srgbClr val="211E2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936ECD3-0663-809B-7014-AA695237A9D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1410699" y="6454968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fld id="{9364D0EC-EC4E-44C8-984F-0D5A8EE3907A}" type="slidenum">
              <a:rPr lang="en-US" sz="9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indent="0">
                <a:buNone/>
              </a:pPr>
              <a:t>‹#›</a:t>
            </a:fld>
            <a:endParaRPr lang="en-US" sz="900" kern="120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020639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8DD8654-9A02-25BE-655C-2CE3A35986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0495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DD8654-9A02-25BE-655C-2CE3A3598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: Shape 2">
            <a:extLst>
              <a:ext uri="{FF2B5EF4-FFF2-40B4-BE49-F238E27FC236}">
                <a16:creationId xmlns:a16="http://schemas.microsoft.com/office/drawing/2014/main" id="{26385199-08CA-63EE-8C81-2D84EC7F0EE1}"/>
              </a:ext>
            </a:extLst>
          </p:cNvPr>
          <p:cNvSpPr/>
          <p:nvPr userDrawn="1"/>
        </p:nvSpPr>
        <p:spPr bwMode="gray">
          <a:xfrm flipH="1">
            <a:off x="0" y="6305551"/>
            <a:ext cx="12192000" cy="552449"/>
          </a:xfrm>
          <a:custGeom>
            <a:avLst/>
            <a:gdLst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2052534 w 12192000"/>
              <a:gd name="connsiteY2" fmla="*/ 1714643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807700 w 12192000"/>
              <a:gd name="connsiteY2" fmla="*/ 1651330 h 2464130"/>
              <a:gd name="connsiteX3" fmla="*/ 12052534 w 12192000"/>
              <a:gd name="connsiteY3" fmla="*/ 1714643 h 2464130"/>
              <a:gd name="connsiteX4" fmla="*/ 12192000 w 12192000"/>
              <a:gd name="connsiteY4" fmla="*/ 1717791 h 2464130"/>
              <a:gd name="connsiteX5" fmla="*/ 12192000 w 12192000"/>
              <a:gd name="connsiteY5" fmla="*/ 2464130 h 2464130"/>
              <a:gd name="connsiteX6" fmla="*/ 0 w 12192000"/>
              <a:gd name="connsiteY6" fmla="*/ 2464130 h 2464130"/>
              <a:gd name="connsiteX7" fmla="*/ 0 w 12192000"/>
              <a:gd name="connsiteY7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807700 w 12192000"/>
              <a:gd name="connsiteY2" fmla="*/ 16513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807700 w 12192000"/>
              <a:gd name="connsiteY2" fmla="*/ 16513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807700 w 12192000"/>
              <a:gd name="connsiteY2" fmla="*/ 16513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604500 w 12192000"/>
              <a:gd name="connsiteY2" fmla="*/ 16513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604500 w 12192000"/>
              <a:gd name="connsiteY2" fmla="*/ 15624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374745 w 12192000"/>
              <a:gd name="connsiteY2" fmla="*/ 1725881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374745 w 12192000"/>
              <a:gd name="connsiteY2" fmla="*/ 1642754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58251 h 2522381"/>
              <a:gd name="connsiteX1" fmla="*/ 6602681 w 12192000"/>
              <a:gd name="connsiteY1" fmla="*/ 1974138 h 2522381"/>
              <a:gd name="connsiteX2" fmla="*/ 10244117 w 12192000"/>
              <a:gd name="connsiteY2" fmla="*/ 1689129 h 2522381"/>
              <a:gd name="connsiteX3" fmla="*/ 12192000 w 12192000"/>
              <a:gd name="connsiteY3" fmla="*/ 1776042 h 2522381"/>
              <a:gd name="connsiteX4" fmla="*/ 12192000 w 12192000"/>
              <a:gd name="connsiteY4" fmla="*/ 2522381 h 2522381"/>
              <a:gd name="connsiteX5" fmla="*/ 0 w 12192000"/>
              <a:gd name="connsiteY5" fmla="*/ 2522381 h 2522381"/>
              <a:gd name="connsiteX6" fmla="*/ 0 w 12192000"/>
              <a:gd name="connsiteY6" fmla="*/ 58251 h 2522381"/>
              <a:gd name="connsiteX0" fmla="*/ 0 w 12192000"/>
              <a:gd name="connsiteY0" fmla="*/ 449463 h 2913593"/>
              <a:gd name="connsiteX1" fmla="*/ 6602681 w 12192000"/>
              <a:gd name="connsiteY1" fmla="*/ 2365350 h 2913593"/>
              <a:gd name="connsiteX2" fmla="*/ 10244117 w 12192000"/>
              <a:gd name="connsiteY2" fmla="*/ 2080341 h 2913593"/>
              <a:gd name="connsiteX3" fmla="*/ 12192000 w 12192000"/>
              <a:gd name="connsiteY3" fmla="*/ 2167254 h 2913593"/>
              <a:gd name="connsiteX4" fmla="*/ 12192000 w 12192000"/>
              <a:gd name="connsiteY4" fmla="*/ 2913593 h 2913593"/>
              <a:gd name="connsiteX5" fmla="*/ 0 w 12192000"/>
              <a:gd name="connsiteY5" fmla="*/ 2913593 h 2913593"/>
              <a:gd name="connsiteX6" fmla="*/ 0 w 12192000"/>
              <a:gd name="connsiteY6" fmla="*/ 449463 h 2913593"/>
              <a:gd name="connsiteX0" fmla="*/ 0 w 12192000"/>
              <a:gd name="connsiteY0" fmla="*/ 449463 h 2913593"/>
              <a:gd name="connsiteX1" fmla="*/ 6602681 w 12192000"/>
              <a:gd name="connsiteY1" fmla="*/ 2365350 h 2913593"/>
              <a:gd name="connsiteX2" fmla="*/ 10244117 w 12192000"/>
              <a:gd name="connsiteY2" fmla="*/ 2080341 h 2913593"/>
              <a:gd name="connsiteX3" fmla="*/ 12192000 w 12192000"/>
              <a:gd name="connsiteY3" fmla="*/ 2167254 h 2913593"/>
              <a:gd name="connsiteX4" fmla="*/ 12192000 w 12192000"/>
              <a:gd name="connsiteY4" fmla="*/ 2913593 h 2913593"/>
              <a:gd name="connsiteX5" fmla="*/ 0 w 12192000"/>
              <a:gd name="connsiteY5" fmla="*/ 2913593 h 2913593"/>
              <a:gd name="connsiteX6" fmla="*/ 0 w 12192000"/>
              <a:gd name="connsiteY6" fmla="*/ 449463 h 2913593"/>
              <a:gd name="connsiteX0" fmla="*/ 0 w 12192000"/>
              <a:gd name="connsiteY0" fmla="*/ 349268 h 2813398"/>
              <a:gd name="connsiteX1" fmla="*/ 6602681 w 12192000"/>
              <a:gd name="connsiteY1" fmla="*/ 2265155 h 2813398"/>
              <a:gd name="connsiteX2" fmla="*/ 10244117 w 12192000"/>
              <a:gd name="connsiteY2" fmla="*/ 1980146 h 2813398"/>
              <a:gd name="connsiteX3" fmla="*/ 12192000 w 12192000"/>
              <a:gd name="connsiteY3" fmla="*/ 2067059 h 2813398"/>
              <a:gd name="connsiteX4" fmla="*/ 12192000 w 12192000"/>
              <a:gd name="connsiteY4" fmla="*/ 2813398 h 2813398"/>
              <a:gd name="connsiteX5" fmla="*/ 0 w 12192000"/>
              <a:gd name="connsiteY5" fmla="*/ 2813398 h 2813398"/>
              <a:gd name="connsiteX6" fmla="*/ 0 w 12192000"/>
              <a:gd name="connsiteY6" fmla="*/ 349268 h 2813398"/>
              <a:gd name="connsiteX0" fmla="*/ 0 w 12192000"/>
              <a:gd name="connsiteY0" fmla="*/ 424103 h 2888233"/>
              <a:gd name="connsiteX1" fmla="*/ 6602681 w 12192000"/>
              <a:gd name="connsiteY1" fmla="*/ 2339990 h 2888233"/>
              <a:gd name="connsiteX2" fmla="*/ 10244117 w 12192000"/>
              <a:gd name="connsiteY2" fmla="*/ 2054981 h 2888233"/>
              <a:gd name="connsiteX3" fmla="*/ 12192000 w 12192000"/>
              <a:gd name="connsiteY3" fmla="*/ 2141894 h 2888233"/>
              <a:gd name="connsiteX4" fmla="*/ 12192000 w 12192000"/>
              <a:gd name="connsiteY4" fmla="*/ 2888233 h 2888233"/>
              <a:gd name="connsiteX5" fmla="*/ 0 w 12192000"/>
              <a:gd name="connsiteY5" fmla="*/ 2888233 h 2888233"/>
              <a:gd name="connsiteX6" fmla="*/ 0 w 12192000"/>
              <a:gd name="connsiteY6" fmla="*/ 424103 h 2888233"/>
              <a:gd name="connsiteX0" fmla="*/ 0 w 12192000"/>
              <a:gd name="connsiteY0" fmla="*/ 337006 h 2801136"/>
              <a:gd name="connsiteX1" fmla="*/ 6602681 w 12192000"/>
              <a:gd name="connsiteY1" fmla="*/ 2252893 h 2801136"/>
              <a:gd name="connsiteX2" fmla="*/ 10244117 w 12192000"/>
              <a:gd name="connsiteY2" fmla="*/ 1967884 h 2801136"/>
              <a:gd name="connsiteX3" fmla="*/ 12192000 w 12192000"/>
              <a:gd name="connsiteY3" fmla="*/ 2054797 h 2801136"/>
              <a:gd name="connsiteX4" fmla="*/ 12192000 w 12192000"/>
              <a:gd name="connsiteY4" fmla="*/ 2801136 h 2801136"/>
              <a:gd name="connsiteX5" fmla="*/ 0 w 12192000"/>
              <a:gd name="connsiteY5" fmla="*/ 2801136 h 2801136"/>
              <a:gd name="connsiteX6" fmla="*/ 0 w 12192000"/>
              <a:gd name="connsiteY6" fmla="*/ 337006 h 2801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801136">
                <a:moveTo>
                  <a:pt x="0" y="337006"/>
                </a:moveTo>
                <a:cubicBezTo>
                  <a:pt x="1835026" y="-885984"/>
                  <a:pt x="4876278" y="1561213"/>
                  <a:pt x="6602681" y="2252893"/>
                </a:cubicBezTo>
                <a:cubicBezTo>
                  <a:pt x="8207523" y="2895870"/>
                  <a:pt x="9234755" y="2119901"/>
                  <a:pt x="10244117" y="1967884"/>
                </a:cubicBezTo>
                <a:cubicBezTo>
                  <a:pt x="11253479" y="1815867"/>
                  <a:pt x="11586633" y="1903455"/>
                  <a:pt x="12192000" y="2054797"/>
                </a:cubicBezTo>
                <a:lnTo>
                  <a:pt x="12192000" y="2801136"/>
                </a:lnTo>
                <a:lnTo>
                  <a:pt x="0" y="2801136"/>
                </a:lnTo>
                <a:lnTo>
                  <a:pt x="0" y="337006"/>
                </a:lnTo>
                <a:close/>
              </a:path>
            </a:pathLst>
          </a:custGeom>
          <a:gradFill>
            <a:gsLst>
              <a:gs pos="63000">
                <a:srgbClr val="FFD437"/>
              </a:gs>
              <a:gs pos="0">
                <a:srgbClr val="009440"/>
              </a:gs>
            </a:gsLst>
            <a:lin ang="10800000" scaled="0"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kumimoji="1" lang="en-US" sz="1600" err="1">
              <a:solidFill>
                <a:schemeClr val="tx1"/>
              </a:solidFill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085DC10-2791-78BB-457B-36EBC0E1FF9A}"/>
              </a:ext>
            </a:extLst>
          </p:cNvPr>
          <p:cNvSpPr/>
          <p:nvPr userDrawn="1"/>
        </p:nvSpPr>
        <p:spPr bwMode="gray">
          <a:xfrm>
            <a:off x="0" y="6381549"/>
            <a:ext cx="12192000" cy="476451"/>
          </a:xfrm>
          <a:custGeom>
            <a:avLst/>
            <a:gdLst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2052534 w 12192000"/>
              <a:gd name="connsiteY2" fmla="*/ 1714643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807700 w 12192000"/>
              <a:gd name="connsiteY2" fmla="*/ 1651330 h 2464130"/>
              <a:gd name="connsiteX3" fmla="*/ 12052534 w 12192000"/>
              <a:gd name="connsiteY3" fmla="*/ 1714643 h 2464130"/>
              <a:gd name="connsiteX4" fmla="*/ 12192000 w 12192000"/>
              <a:gd name="connsiteY4" fmla="*/ 1717791 h 2464130"/>
              <a:gd name="connsiteX5" fmla="*/ 12192000 w 12192000"/>
              <a:gd name="connsiteY5" fmla="*/ 2464130 h 2464130"/>
              <a:gd name="connsiteX6" fmla="*/ 0 w 12192000"/>
              <a:gd name="connsiteY6" fmla="*/ 2464130 h 2464130"/>
              <a:gd name="connsiteX7" fmla="*/ 0 w 12192000"/>
              <a:gd name="connsiteY7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807700 w 12192000"/>
              <a:gd name="connsiteY2" fmla="*/ 16513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807700 w 12192000"/>
              <a:gd name="connsiteY2" fmla="*/ 16513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807700 w 12192000"/>
              <a:gd name="connsiteY2" fmla="*/ 16513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604500 w 12192000"/>
              <a:gd name="connsiteY2" fmla="*/ 16513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604500 w 12192000"/>
              <a:gd name="connsiteY2" fmla="*/ 15624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374745 w 12192000"/>
              <a:gd name="connsiteY2" fmla="*/ 1725881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374745 w 12192000"/>
              <a:gd name="connsiteY2" fmla="*/ 1642754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34592 w 12192000"/>
              <a:gd name="connsiteY2" fmla="*/ 1523789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34592 w 12192000"/>
              <a:gd name="connsiteY2" fmla="*/ 1523789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34592 w 12192000"/>
              <a:gd name="connsiteY2" fmla="*/ 1523789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34592 w 12192000"/>
              <a:gd name="connsiteY2" fmla="*/ 1523789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44117 w 12192000"/>
              <a:gd name="connsiteY2" fmla="*/ 187182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44117 w 12192000"/>
              <a:gd name="connsiteY2" fmla="*/ 187182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44117 w 12192000"/>
              <a:gd name="connsiteY2" fmla="*/ 187182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44117 w 12192000"/>
              <a:gd name="connsiteY2" fmla="*/ 187182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44117 w 12192000"/>
              <a:gd name="connsiteY2" fmla="*/ 187182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2192000 w 12192000"/>
              <a:gd name="connsiteY2" fmla="*/ 1717791 h 2464130"/>
              <a:gd name="connsiteX3" fmla="*/ 12192000 w 12192000"/>
              <a:gd name="connsiteY3" fmla="*/ 2464130 h 2464130"/>
              <a:gd name="connsiteX4" fmla="*/ 0 w 12192000"/>
              <a:gd name="connsiteY4" fmla="*/ 2464130 h 2464130"/>
              <a:gd name="connsiteX5" fmla="*/ 0 w 12192000"/>
              <a:gd name="connsiteY5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2192000 w 12192000"/>
              <a:gd name="connsiteY2" fmla="*/ 1717791 h 2464130"/>
              <a:gd name="connsiteX3" fmla="*/ 12192000 w 12192000"/>
              <a:gd name="connsiteY3" fmla="*/ 2464130 h 2464130"/>
              <a:gd name="connsiteX4" fmla="*/ 0 w 12192000"/>
              <a:gd name="connsiteY4" fmla="*/ 2464130 h 2464130"/>
              <a:gd name="connsiteX5" fmla="*/ 0 w 12192000"/>
              <a:gd name="connsiteY5" fmla="*/ 0 h 2464130"/>
              <a:gd name="connsiteX0" fmla="*/ 0 w 12192000"/>
              <a:gd name="connsiteY0" fmla="*/ 0 h 2464130"/>
              <a:gd name="connsiteX1" fmla="*/ 6564180 w 12192000"/>
              <a:gd name="connsiteY1" fmla="*/ 1624729 h 2464130"/>
              <a:gd name="connsiteX2" fmla="*/ 12192000 w 12192000"/>
              <a:gd name="connsiteY2" fmla="*/ 1717791 h 2464130"/>
              <a:gd name="connsiteX3" fmla="*/ 12192000 w 12192000"/>
              <a:gd name="connsiteY3" fmla="*/ 2464130 h 2464130"/>
              <a:gd name="connsiteX4" fmla="*/ 0 w 12192000"/>
              <a:gd name="connsiteY4" fmla="*/ 2464130 h 2464130"/>
              <a:gd name="connsiteX5" fmla="*/ 0 w 12192000"/>
              <a:gd name="connsiteY5" fmla="*/ 0 h 2464130"/>
              <a:gd name="connsiteX0" fmla="*/ 0 w 12192000"/>
              <a:gd name="connsiteY0" fmla="*/ 0 h 2464130"/>
              <a:gd name="connsiteX1" fmla="*/ 6564180 w 12192000"/>
              <a:gd name="connsiteY1" fmla="*/ 1574950 h 2464130"/>
              <a:gd name="connsiteX2" fmla="*/ 12192000 w 12192000"/>
              <a:gd name="connsiteY2" fmla="*/ 1717791 h 2464130"/>
              <a:gd name="connsiteX3" fmla="*/ 12192000 w 12192000"/>
              <a:gd name="connsiteY3" fmla="*/ 2464130 h 2464130"/>
              <a:gd name="connsiteX4" fmla="*/ 0 w 12192000"/>
              <a:gd name="connsiteY4" fmla="*/ 2464130 h 2464130"/>
              <a:gd name="connsiteX5" fmla="*/ 0 w 12192000"/>
              <a:gd name="connsiteY5" fmla="*/ 0 h 2464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2464130">
                <a:moveTo>
                  <a:pt x="0" y="0"/>
                </a:moveTo>
                <a:cubicBezTo>
                  <a:pt x="3501901" y="36615"/>
                  <a:pt x="4532180" y="1288652"/>
                  <a:pt x="6564180" y="1574950"/>
                </a:cubicBezTo>
                <a:cubicBezTo>
                  <a:pt x="8596180" y="1861248"/>
                  <a:pt x="10707997" y="1617493"/>
                  <a:pt x="12192000" y="1717791"/>
                </a:cubicBezTo>
                <a:lnTo>
                  <a:pt x="12192000" y="2464130"/>
                </a:lnTo>
                <a:lnTo>
                  <a:pt x="0" y="2464130"/>
                </a:lnTo>
                <a:lnTo>
                  <a:pt x="0" y="0"/>
                </a:lnTo>
                <a:close/>
              </a:path>
            </a:pathLst>
          </a:custGeom>
          <a:solidFill>
            <a:srgbClr val="009440">
              <a:alpha val="5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kumimoji="1" lang="en-US" sz="1600" err="1">
              <a:solidFill>
                <a:schemeClr val="tx1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34964" y="1"/>
            <a:ext cx="10619234" cy="876687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Number">
            <a:extLst>
              <a:ext uri="{FF2B5EF4-FFF2-40B4-BE49-F238E27FC236}">
                <a16:creationId xmlns:a16="http://schemas.microsoft.com/office/drawing/2014/main" id="{57546B8D-2123-F097-3C7A-9E3873AE4664}"/>
              </a:ext>
            </a:extLst>
          </p:cNvPr>
          <p:cNvSpPr/>
          <p:nvPr userDrawn="1"/>
        </p:nvSpPr>
        <p:spPr bwMode="gray">
          <a:xfrm>
            <a:off x="11715975" y="6443276"/>
            <a:ext cx="141064" cy="138499"/>
          </a:xfrm>
          <a:prstGeom prst="rect">
            <a:avLst/>
          </a:prstGeom>
          <a:noFill/>
          <a:ln w="190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tx1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0"/>
                </a:spcBef>
                <a:buNone/>
              </a:pPr>
              <a:t>‹#›</a:t>
            </a:fld>
            <a:endParaRPr lang="fr-FR" sz="900" b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9" name="Picture 8" descr="A logo with blue green yellow and blue text&#10;&#10;Description automatically generated">
            <a:extLst>
              <a:ext uri="{FF2B5EF4-FFF2-40B4-BE49-F238E27FC236}">
                <a16:creationId xmlns:a16="http://schemas.microsoft.com/office/drawing/2014/main" id="{F8B52B33-0DA6-D110-6724-B010EE7407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4197" y="90213"/>
            <a:ext cx="1237803" cy="6962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77D108E-5FA6-FD84-333C-B9FA472C7F1A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7721600" y="3570288"/>
            <a:ext cx="4470400" cy="3287712"/>
          </a:xfrm>
          <a:prstGeom prst="rect">
            <a:avLst/>
          </a:prstGeom>
          <a:solidFill>
            <a:srgbClr val="FFCE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>
              <a:solidFill>
                <a:srgbClr val="211E20"/>
              </a:solidFill>
            </a:endParaRPr>
          </a:p>
        </p:txBody>
      </p:sp>
      <p:pic>
        <p:nvPicPr>
          <p:cNvPr id="3" name="Picture 2" descr="A river with trees and a sunset&#10;&#10;Description automatically generated">
            <a:extLst>
              <a:ext uri="{FF2B5EF4-FFF2-40B4-BE49-F238E27FC236}">
                <a16:creationId xmlns:a16="http://schemas.microsoft.com/office/drawing/2014/main" id="{DA50950C-6706-DDBC-6381-7A46C63246ED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79" t="1766" b="9948"/>
          <a:stretch>
            <a:fillRect/>
          </a:stretch>
        </p:blipFill>
        <p:spPr>
          <a:xfrm>
            <a:off x="546100" y="1"/>
            <a:ext cx="11645896" cy="6857999"/>
          </a:xfrm>
          <a:custGeom>
            <a:avLst/>
            <a:gdLst>
              <a:gd name="connsiteX0" fmla="*/ 0 w 11645896"/>
              <a:gd name="connsiteY0" fmla="*/ 0 h 6857999"/>
              <a:gd name="connsiteX1" fmla="*/ 11645896 w 11645896"/>
              <a:gd name="connsiteY1" fmla="*/ 0 h 6857999"/>
              <a:gd name="connsiteX2" fmla="*/ 11645896 w 11645896"/>
              <a:gd name="connsiteY2" fmla="*/ 4806565 h 6857999"/>
              <a:gd name="connsiteX3" fmla="*/ 9594462 w 11645896"/>
              <a:gd name="connsiteY3" fmla="*/ 6857999 h 6857999"/>
              <a:gd name="connsiteX4" fmla="*/ 0 w 11645896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45896" h="6857999">
                <a:moveTo>
                  <a:pt x="0" y="0"/>
                </a:moveTo>
                <a:lnTo>
                  <a:pt x="11645896" y="0"/>
                </a:lnTo>
                <a:lnTo>
                  <a:pt x="11645896" y="4806565"/>
                </a:lnTo>
                <a:cubicBezTo>
                  <a:pt x="11645896" y="5939541"/>
                  <a:pt x="10727438" y="6857999"/>
                  <a:pt x="9594462" y="6857999"/>
                </a:cubicBezTo>
                <a:lnTo>
                  <a:pt x="0" y="6857999"/>
                </a:lnTo>
                <a:close/>
              </a:path>
            </a:pathLst>
          </a:cu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D8319E41-1612-4B93-F174-78BF41ACCD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 flipV="1">
            <a:off x="0" y="0"/>
            <a:ext cx="6201282" cy="6858000"/>
          </a:xfrm>
          <a:custGeom>
            <a:avLst/>
            <a:gdLst>
              <a:gd name="connsiteX0" fmla="*/ 0 w 4041874"/>
              <a:gd name="connsiteY0" fmla="*/ 0 h 4469909"/>
              <a:gd name="connsiteX1" fmla="*/ 0 w 4041874"/>
              <a:gd name="connsiteY1" fmla="*/ 4469910 h 4469909"/>
              <a:gd name="connsiteX2" fmla="*/ 4041874 w 4041874"/>
              <a:gd name="connsiteY2" fmla="*/ 4469910 h 4469909"/>
              <a:gd name="connsiteX3" fmla="*/ 1383396 w 4041874"/>
              <a:gd name="connsiteY3" fmla="*/ 0 h 4469909"/>
              <a:gd name="connsiteX4" fmla="*/ 0 w 4041874"/>
              <a:gd name="connsiteY4" fmla="*/ 0 h 4469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41873" h="4469909">
                <a:moveTo>
                  <a:pt x="0" y="0"/>
                </a:moveTo>
                <a:lnTo>
                  <a:pt x="0" y="4469910"/>
                </a:lnTo>
                <a:lnTo>
                  <a:pt x="4041874" y="4469910"/>
                </a:lnTo>
                <a:lnTo>
                  <a:pt x="138339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4138" cap="flat">
            <a:noFill/>
            <a:prstDash val="solid"/>
            <a:miter/>
          </a:ln>
        </p:spPr>
        <p:txBody>
          <a:bodyPr rtlCol="0" anchor="ctr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DE245096-3B23-D677-CCA3-BFBF479A753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 flipV="1">
            <a:off x="5207000" y="-2"/>
            <a:ext cx="994282" cy="1671765"/>
          </a:xfrm>
          <a:custGeom>
            <a:avLst/>
            <a:gdLst>
              <a:gd name="connsiteX0" fmla="*/ 0 w 704300"/>
              <a:gd name="connsiteY0" fmla="*/ 1184195 h 1184194"/>
              <a:gd name="connsiteX1" fmla="*/ 704300 w 704300"/>
              <a:gd name="connsiteY1" fmla="*/ 1184195 h 1184194"/>
              <a:gd name="connsiteX2" fmla="*/ 0 w 704300"/>
              <a:gd name="connsiteY2" fmla="*/ 0 h 1184194"/>
              <a:gd name="connsiteX3" fmla="*/ 0 w 704300"/>
              <a:gd name="connsiteY3" fmla="*/ 1184195 h 118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300" h="1184194">
                <a:moveTo>
                  <a:pt x="0" y="1184195"/>
                </a:moveTo>
                <a:lnTo>
                  <a:pt x="704300" y="1184195"/>
                </a:lnTo>
                <a:lnTo>
                  <a:pt x="0" y="0"/>
                </a:lnTo>
                <a:lnTo>
                  <a:pt x="0" y="1184195"/>
                </a:lnTo>
                <a:close/>
              </a:path>
            </a:pathLst>
          </a:custGeom>
          <a:solidFill>
            <a:srgbClr val="183E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211E2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9CC4AFE-3CCD-DB5B-58D8-5DA32946934C}"/>
              </a:ext>
            </a:extLst>
          </p:cNvPr>
          <p:cNvGrpSpPr/>
          <p:nvPr userDrawn="1"/>
        </p:nvGrpSpPr>
        <p:grpSpPr>
          <a:xfrm>
            <a:off x="273050" y="714805"/>
            <a:ext cx="4263828" cy="1705344"/>
            <a:chOff x="6631554" y="1441828"/>
            <a:chExt cx="5159231" cy="2063466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7E3187C-3713-F6E7-741D-E5DC40A0FB9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631554" y="1441828"/>
              <a:ext cx="4138249" cy="2061737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DDE2AAB-1BDC-5924-2E38-4E3C9F291BC0}"/>
                </a:ext>
              </a:extLst>
            </p:cNvPr>
            <p:cNvSpPr txBox="1"/>
            <p:nvPr/>
          </p:nvSpPr>
          <p:spPr bwMode="gray">
            <a:xfrm>
              <a:off x="8445422" y="2946679"/>
              <a:ext cx="3345363" cy="55861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0" indent="0" defTabSz="948243">
                <a:spcBef>
                  <a:spcPts val="800"/>
                </a:spcBef>
                <a:buNone/>
                <a:defRPr/>
              </a:pPr>
              <a:r>
                <a:rPr lang="en-US" sz="1200">
                  <a:solidFill>
                    <a:srgbClr val="0121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azil </a:t>
              </a:r>
              <a:r>
                <a:rPr lang="en-US" sz="1200" b="1">
                  <a:solidFill>
                    <a:srgbClr val="41598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mate</a:t>
              </a:r>
              <a:r>
                <a:rPr lang="en-US" sz="1200">
                  <a:solidFill>
                    <a:srgbClr val="0121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&amp; </a:t>
              </a:r>
              <a:r>
                <a:rPr lang="en-US" sz="1200" b="1">
                  <a:solidFill>
                    <a:srgbClr val="00973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cological</a:t>
              </a:r>
              <a:r>
                <a:rPr lang="en-US" sz="1200">
                  <a:solidFill>
                    <a:srgbClr val="0121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b="1">
                  <a:solidFill>
                    <a:srgbClr val="00973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formation</a:t>
              </a:r>
              <a:r>
                <a:rPr lang="en-US" sz="1200">
                  <a:solidFill>
                    <a:srgbClr val="0121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vestment Platform</a:t>
              </a:r>
              <a:endParaRPr lang="pt-BR" sz="1200">
                <a:solidFill>
                  <a:srgbClr val="01216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978D5C5-9C8A-66A6-8298-6C7A0427D7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5269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78D5C5-9C8A-66A6-8298-6C7A0427D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E8161C74-B293-A250-B34C-EE49BE1D95C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82372"/>
            <a:ext cx="11082528" cy="1051116"/>
          </a:xfrm>
        </p:spPr>
        <p:txBody>
          <a:bodyPr vert="horz" lIns="36000" tIns="36000" rIns="36000" bIns="36000">
            <a:normAutofit/>
          </a:bodyPr>
          <a:lstStyle>
            <a:lvl1pPr>
              <a:defRPr lang="en-US" sz="2400" b="1" i="0" kern="1200" spc="0" baseline="0">
                <a:ln w="6350" cap="flat">
                  <a:noFill/>
                  <a:miter lim="800000"/>
                </a:ln>
                <a:solidFill>
                  <a:srgbClr val="211E2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936ECD3-0663-809B-7014-AA695237A9D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1410699" y="6454968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fld id="{9364D0EC-EC4E-44C8-984F-0D5A8EE3907A}" type="slidenum">
              <a:rPr lang="en-US" sz="9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indent="0">
                <a:buNone/>
              </a:pPr>
              <a:t>‹#›</a:t>
            </a:fld>
            <a:endParaRPr lang="en-US" sz="900" kern="120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9536921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think-cell data - do not delete" hidden="1">
            <a:extLst>
              <a:ext uri="{FF2B5EF4-FFF2-40B4-BE49-F238E27FC236}">
                <a16:creationId xmlns:a16="http://schemas.microsoft.com/office/drawing/2014/main" id="{518DA0D3-8D5C-6FD6-13C9-88D36F085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0564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606" imgH="608" progId="TCLayout.ActiveDocument.1">
                  <p:embed/>
                </p:oleObj>
              </mc:Choice>
              <mc:Fallback>
                <p:oleObj name="think-cell Slide" r:id="rId13" imgW="606" imgH="608" progId="TCLayout.ActiveDocument.1">
                  <p:embed/>
                  <p:pic>
                    <p:nvPicPr>
                      <p:cNvPr id="3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8DA0D3-8D5C-6FD6-13C9-88D36F085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306B2134-A0E7-9994-A0E5-E67F8ED36500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04" b="8583"/>
          <a:stretch>
            <a:fillRect/>
          </a:stretch>
        </p:blipFill>
        <p:spPr>
          <a:xfrm>
            <a:off x="2108200" y="0"/>
            <a:ext cx="10083799" cy="5495925"/>
          </a:xfrm>
          <a:prstGeom prst="rect">
            <a:avLst/>
          </a:prstGeom>
        </p:spPr>
      </p:pic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B239A2E-40DB-4FBB-8F2F-92E21D0FF78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6201282" cy="6858000"/>
          </a:xfrm>
          <a:custGeom>
            <a:avLst/>
            <a:gdLst>
              <a:gd name="connsiteX0" fmla="*/ 0 w 4041874"/>
              <a:gd name="connsiteY0" fmla="*/ 0 h 4469909"/>
              <a:gd name="connsiteX1" fmla="*/ 0 w 4041874"/>
              <a:gd name="connsiteY1" fmla="*/ 4469910 h 4469909"/>
              <a:gd name="connsiteX2" fmla="*/ 4041874 w 4041874"/>
              <a:gd name="connsiteY2" fmla="*/ 4469910 h 4469909"/>
              <a:gd name="connsiteX3" fmla="*/ 1383396 w 4041874"/>
              <a:gd name="connsiteY3" fmla="*/ 0 h 4469909"/>
              <a:gd name="connsiteX4" fmla="*/ 0 w 4041874"/>
              <a:gd name="connsiteY4" fmla="*/ 0 h 4469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41873" h="4469909">
                <a:moveTo>
                  <a:pt x="0" y="0"/>
                </a:moveTo>
                <a:lnTo>
                  <a:pt x="0" y="4469910"/>
                </a:lnTo>
                <a:lnTo>
                  <a:pt x="4041874" y="4469910"/>
                </a:lnTo>
                <a:lnTo>
                  <a:pt x="138339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E00"/>
          </a:solidFill>
          <a:ln w="4138" cap="flat">
            <a:noFill/>
            <a:prstDash val="solid"/>
            <a:miter/>
          </a:ln>
        </p:spPr>
        <p:txBody>
          <a:bodyPr rtlCol="0" anchor="ctr"/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211E2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A9EBD8D3-A040-9F4A-195A-D601F6CD99A1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4280810"/>
            <a:ext cx="4272039" cy="2577190"/>
          </a:xfrm>
          <a:custGeom>
            <a:avLst/>
            <a:gdLst>
              <a:gd name="connsiteX0" fmla="*/ 639479 w 4272039"/>
              <a:gd name="connsiteY0" fmla="*/ 0 h 2577190"/>
              <a:gd name="connsiteX1" fmla="*/ 4190191 w 4272039"/>
              <a:gd name="connsiteY1" fmla="*/ 2353565 h 2577190"/>
              <a:gd name="connsiteX2" fmla="*/ 4272039 w 4272039"/>
              <a:gd name="connsiteY2" fmla="*/ 2577190 h 2577190"/>
              <a:gd name="connsiteX3" fmla="*/ 0 w 4272039"/>
              <a:gd name="connsiteY3" fmla="*/ 2577190 h 2577190"/>
              <a:gd name="connsiteX4" fmla="*/ 0 w 4272039"/>
              <a:gd name="connsiteY4" fmla="*/ 53798 h 2577190"/>
              <a:gd name="connsiteX5" fmla="*/ 52621 w 4272039"/>
              <a:gd name="connsiteY5" fmla="*/ 44401 h 2577190"/>
              <a:gd name="connsiteX6" fmla="*/ 639479 w 4272039"/>
              <a:gd name="connsiteY6" fmla="*/ 0 h 2577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2039" h="2577190">
                <a:moveTo>
                  <a:pt x="639479" y="0"/>
                </a:moveTo>
                <a:cubicBezTo>
                  <a:pt x="2235677" y="0"/>
                  <a:pt x="3605195" y="970469"/>
                  <a:pt x="4190191" y="2353565"/>
                </a:cubicBezTo>
                <a:lnTo>
                  <a:pt x="4272039" y="2577190"/>
                </a:lnTo>
                <a:lnTo>
                  <a:pt x="0" y="2577190"/>
                </a:lnTo>
                <a:lnTo>
                  <a:pt x="0" y="53798"/>
                </a:lnTo>
                <a:lnTo>
                  <a:pt x="52621" y="44401"/>
                </a:lnTo>
                <a:cubicBezTo>
                  <a:pt x="243972" y="15164"/>
                  <a:pt x="439955" y="0"/>
                  <a:pt x="639479" y="0"/>
                </a:cubicBezTo>
                <a:close/>
              </a:path>
            </a:pathLst>
          </a:custGeom>
          <a:solidFill>
            <a:srgbClr val="183EFF"/>
          </a:solidFill>
          <a:ln w="413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1A57E67-3810-89C1-44EB-EF4C1082E40C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5391188" y="5495925"/>
            <a:ext cx="6800812" cy="13620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5E8C034-8208-78DA-A18B-465D9CA513F6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5391188" y="5495925"/>
            <a:ext cx="810094" cy="1362075"/>
          </a:xfrm>
          <a:custGeom>
            <a:avLst/>
            <a:gdLst>
              <a:gd name="connsiteX0" fmla="*/ 0 w 704300"/>
              <a:gd name="connsiteY0" fmla="*/ 1184195 h 1184194"/>
              <a:gd name="connsiteX1" fmla="*/ 704300 w 704300"/>
              <a:gd name="connsiteY1" fmla="*/ 1184195 h 1184194"/>
              <a:gd name="connsiteX2" fmla="*/ 0 w 704300"/>
              <a:gd name="connsiteY2" fmla="*/ 0 h 1184194"/>
              <a:gd name="connsiteX3" fmla="*/ 0 w 704300"/>
              <a:gd name="connsiteY3" fmla="*/ 1184195 h 118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300" h="1184194">
                <a:moveTo>
                  <a:pt x="0" y="1184195"/>
                </a:moveTo>
                <a:lnTo>
                  <a:pt x="704300" y="1184195"/>
                </a:lnTo>
                <a:lnTo>
                  <a:pt x="0" y="0"/>
                </a:lnTo>
                <a:lnTo>
                  <a:pt x="0" y="1184195"/>
                </a:lnTo>
                <a:close/>
              </a:path>
            </a:pathLst>
          </a:custGeom>
          <a:solidFill>
            <a:srgbClr val="00CE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0" name="Picture 29" descr="A black background with colorful letters&#10;&#10;Description automatically generated">
            <a:extLst>
              <a:ext uri="{FF2B5EF4-FFF2-40B4-BE49-F238E27FC236}">
                <a16:creationId xmlns:a16="http://schemas.microsoft.com/office/drawing/2014/main" id="{CDDDDFEA-B109-BC05-84F5-F9DE98F5A9CB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6847" y="5846490"/>
            <a:ext cx="1060191" cy="832172"/>
          </a:xfrm>
          <a:prstGeom prst="rect">
            <a:avLst/>
          </a:prstGeom>
        </p:spPr>
      </p:pic>
      <p:pic>
        <p:nvPicPr>
          <p:cNvPr id="31" name="Picture 30" descr="A black background with colorful letters&#10;&#10;Description automatically generated">
            <a:extLst>
              <a:ext uri="{FF2B5EF4-FFF2-40B4-BE49-F238E27FC236}">
                <a16:creationId xmlns:a16="http://schemas.microsoft.com/office/drawing/2014/main" id="{A3F8CC79-5E0B-5BB5-90D9-55F9F3CAF7BB}"/>
              </a:ext>
            </a:extLst>
          </p:cNvPr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3101" y="5629542"/>
            <a:ext cx="1095105" cy="1049120"/>
          </a:xfrm>
          <a:prstGeom prst="rect">
            <a:avLst/>
          </a:prstGeom>
        </p:spPr>
      </p:pic>
      <p:pic>
        <p:nvPicPr>
          <p:cNvPr id="32" name="Picture 31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D7C5E51C-7071-D8B8-313D-8BCB95BC632B}"/>
              </a:ext>
            </a:extLst>
          </p:cNvPr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4269" y="5739635"/>
            <a:ext cx="1057016" cy="939027"/>
          </a:xfrm>
          <a:prstGeom prst="rect">
            <a:avLst/>
          </a:prstGeom>
        </p:spPr>
      </p:pic>
      <p:pic>
        <p:nvPicPr>
          <p:cNvPr id="33" name="Picture 32" descr="A logo with colorful letters&#10;&#10;Description automatically generated">
            <a:extLst>
              <a:ext uri="{FF2B5EF4-FFF2-40B4-BE49-F238E27FC236}">
                <a16:creationId xmlns:a16="http://schemas.microsoft.com/office/drawing/2014/main" id="{1B7D5D78-755F-47E7-55DF-2D484942AAC1}"/>
              </a:ext>
            </a:extLst>
          </p:cNvPr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7349" y="5846490"/>
            <a:ext cx="1060191" cy="832172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46101" y="5968258"/>
            <a:ext cx="2133599" cy="44203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spc="300" baseline="0">
                <a:solidFill>
                  <a:srgbClr val="FFFFF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DATE</a:t>
            </a:r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A528EEC8-F0ED-4F39-246B-AE0C38B548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6100" y="1430724"/>
            <a:ext cx="2984500" cy="1328420"/>
          </a:xfrm>
        </p:spPr>
        <p:txBody>
          <a:bodyPr lIns="36576" tIns="36576" rIns="36576" bIns="36576"/>
          <a:lstStyle>
            <a:lvl1pPr marL="0" indent="0">
              <a:buNone/>
              <a:defRPr sz="8800" b="1" spc="300" baseline="0">
                <a:solidFill>
                  <a:srgbClr val="211E20"/>
                </a:solidFill>
                <a:latin typeface="+mj-lt"/>
              </a:defRPr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</a:lstStyle>
          <a:p>
            <a:pPr lvl="0"/>
            <a:r>
              <a:rPr kumimoji="1" lang="en-US"/>
              <a:t>BI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12AC87-5911-D2AD-FCE1-FF96AC4ADF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6100" y="2844037"/>
            <a:ext cx="2984500" cy="9492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rgbClr val="211E2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/>
              <a:t>Brazil Climate and</a:t>
            </a:r>
            <a:br>
              <a:rPr kumimoji="1" lang="en-US"/>
            </a:br>
            <a:r>
              <a:rPr kumimoji="1" lang="en-US"/>
              <a:t>Ecological Transformation</a:t>
            </a:r>
            <a:br>
              <a:rPr kumimoji="1" lang="en-US"/>
            </a:br>
            <a:r>
              <a:rPr kumimoji="1" lang="en-US"/>
              <a:t>Investment Platform</a:t>
            </a:r>
          </a:p>
        </p:txBody>
      </p:sp>
      <p:sp>
        <p:nvSpPr>
          <p:cNvPr id="2" name="Draft">
            <a:extLst>
              <a:ext uri="{FF2B5EF4-FFF2-40B4-BE49-F238E27FC236}">
                <a16:creationId xmlns:a16="http://schemas.microsoft.com/office/drawing/2014/main" id="{9DE2550D-937E-0EAE-469F-D7AE45F54946}"/>
              </a:ext>
            </a:extLst>
          </p:cNvPr>
          <p:cNvSpPr txBox="1"/>
          <p:nvPr userDrawn="1"/>
        </p:nvSpPr>
        <p:spPr bwMode="gray">
          <a:xfrm>
            <a:off x="546100" y="3833103"/>
            <a:ext cx="984565" cy="307777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marL="0" indent="0" algn="l" ea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kumimoji="1" lang="en-US" sz="1400" b="1" cap="all" spc="300">
                <a:solidFill>
                  <a:schemeClr val="dk1"/>
                </a:solidFill>
              </a:rPr>
              <a:t>Draft</a:t>
            </a:r>
          </a:p>
        </p:txBody>
      </p:sp>
      <p:pic>
        <p:nvPicPr>
          <p:cNvPr id="15" name="Picture 14" descr="A logo with blue green yellow and blue text&#10;&#10;Description automatically generated">
            <a:extLst>
              <a:ext uri="{FF2B5EF4-FFF2-40B4-BE49-F238E27FC236}">
                <a16:creationId xmlns:a16="http://schemas.microsoft.com/office/drawing/2014/main" id="{A377992F-1B10-2B89-9A22-C20B3873B7F2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100" y="254116"/>
            <a:ext cx="1647515" cy="9267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0701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8DD8654-9A02-25BE-655C-2CE3A35986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0495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DD8654-9A02-25BE-655C-2CE3A3598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: Shape 2">
            <a:extLst>
              <a:ext uri="{FF2B5EF4-FFF2-40B4-BE49-F238E27FC236}">
                <a16:creationId xmlns:a16="http://schemas.microsoft.com/office/drawing/2014/main" id="{26385199-08CA-63EE-8C81-2D84EC7F0EE1}"/>
              </a:ext>
            </a:extLst>
          </p:cNvPr>
          <p:cNvSpPr/>
          <p:nvPr userDrawn="1"/>
        </p:nvSpPr>
        <p:spPr bwMode="gray">
          <a:xfrm flipH="1">
            <a:off x="0" y="6305551"/>
            <a:ext cx="12192000" cy="552449"/>
          </a:xfrm>
          <a:custGeom>
            <a:avLst/>
            <a:gdLst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2052534 w 12192000"/>
              <a:gd name="connsiteY2" fmla="*/ 1714643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807700 w 12192000"/>
              <a:gd name="connsiteY2" fmla="*/ 1651330 h 2464130"/>
              <a:gd name="connsiteX3" fmla="*/ 12052534 w 12192000"/>
              <a:gd name="connsiteY3" fmla="*/ 1714643 h 2464130"/>
              <a:gd name="connsiteX4" fmla="*/ 12192000 w 12192000"/>
              <a:gd name="connsiteY4" fmla="*/ 1717791 h 2464130"/>
              <a:gd name="connsiteX5" fmla="*/ 12192000 w 12192000"/>
              <a:gd name="connsiteY5" fmla="*/ 2464130 h 2464130"/>
              <a:gd name="connsiteX6" fmla="*/ 0 w 12192000"/>
              <a:gd name="connsiteY6" fmla="*/ 2464130 h 2464130"/>
              <a:gd name="connsiteX7" fmla="*/ 0 w 12192000"/>
              <a:gd name="connsiteY7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807700 w 12192000"/>
              <a:gd name="connsiteY2" fmla="*/ 16513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807700 w 12192000"/>
              <a:gd name="connsiteY2" fmla="*/ 16513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807700 w 12192000"/>
              <a:gd name="connsiteY2" fmla="*/ 16513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604500 w 12192000"/>
              <a:gd name="connsiteY2" fmla="*/ 16513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604500 w 12192000"/>
              <a:gd name="connsiteY2" fmla="*/ 15624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374745 w 12192000"/>
              <a:gd name="connsiteY2" fmla="*/ 1725881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374745 w 12192000"/>
              <a:gd name="connsiteY2" fmla="*/ 1642754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58251 h 2522381"/>
              <a:gd name="connsiteX1" fmla="*/ 6602681 w 12192000"/>
              <a:gd name="connsiteY1" fmla="*/ 1974138 h 2522381"/>
              <a:gd name="connsiteX2" fmla="*/ 10244117 w 12192000"/>
              <a:gd name="connsiteY2" fmla="*/ 1689129 h 2522381"/>
              <a:gd name="connsiteX3" fmla="*/ 12192000 w 12192000"/>
              <a:gd name="connsiteY3" fmla="*/ 1776042 h 2522381"/>
              <a:gd name="connsiteX4" fmla="*/ 12192000 w 12192000"/>
              <a:gd name="connsiteY4" fmla="*/ 2522381 h 2522381"/>
              <a:gd name="connsiteX5" fmla="*/ 0 w 12192000"/>
              <a:gd name="connsiteY5" fmla="*/ 2522381 h 2522381"/>
              <a:gd name="connsiteX6" fmla="*/ 0 w 12192000"/>
              <a:gd name="connsiteY6" fmla="*/ 58251 h 2522381"/>
              <a:gd name="connsiteX0" fmla="*/ 0 w 12192000"/>
              <a:gd name="connsiteY0" fmla="*/ 449463 h 2913593"/>
              <a:gd name="connsiteX1" fmla="*/ 6602681 w 12192000"/>
              <a:gd name="connsiteY1" fmla="*/ 2365350 h 2913593"/>
              <a:gd name="connsiteX2" fmla="*/ 10244117 w 12192000"/>
              <a:gd name="connsiteY2" fmla="*/ 2080341 h 2913593"/>
              <a:gd name="connsiteX3" fmla="*/ 12192000 w 12192000"/>
              <a:gd name="connsiteY3" fmla="*/ 2167254 h 2913593"/>
              <a:gd name="connsiteX4" fmla="*/ 12192000 w 12192000"/>
              <a:gd name="connsiteY4" fmla="*/ 2913593 h 2913593"/>
              <a:gd name="connsiteX5" fmla="*/ 0 w 12192000"/>
              <a:gd name="connsiteY5" fmla="*/ 2913593 h 2913593"/>
              <a:gd name="connsiteX6" fmla="*/ 0 w 12192000"/>
              <a:gd name="connsiteY6" fmla="*/ 449463 h 2913593"/>
              <a:gd name="connsiteX0" fmla="*/ 0 w 12192000"/>
              <a:gd name="connsiteY0" fmla="*/ 449463 h 2913593"/>
              <a:gd name="connsiteX1" fmla="*/ 6602681 w 12192000"/>
              <a:gd name="connsiteY1" fmla="*/ 2365350 h 2913593"/>
              <a:gd name="connsiteX2" fmla="*/ 10244117 w 12192000"/>
              <a:gd name="connsiteY2" fmla="*/ 2080341 h 2913593"/>
              <a:gd name="connsiteX3" fmla="*/ 12192000 w 12192000"/>
              <a:gd name="connsiteY3" fmla="*/ 2167254 h 2913593"/>
              <a:gd name="connsiteX4" fmla="*/ 12192000 w 12192000"/>
              <a:gd name="connsiteY4" fmla="*/ 2913593 h 2913593"/>
              <a:gd name="connsiteX5" fmla="*/ 0 w 12192000"/>
              <a:gd name="connsiteY5" fmla="*/ 2913593 h 2913593"/>
              <a:gd name="connsiteX6" fmla="*/ 0 w 12192000"/>
              <a:gd name="connsiteY6" fmla="*/ 449463 h 2913593"/>
              <a:gd name="connsiteX0" fmla="*/ 0 w 12192000"/>
              <a:gd name="connsiteY0" fmla="*/ 349268 h 2813398"/>
              <a:gd name="connsiteX1" fmla="*/ 6602681 w 12192000"/>
              <a:gd name="connsiteY1" fmla="*/ 2265155 h 2813398"/>
              <a:gd name="connsiteX2" fmla="*/ 10244117 w 12192000"/>
              <a:gd name="connsiteY2" fmla="*/ 1980146 h 2813398"/>
              <a:gd name="connsiteX3" fmla="*/ 12192000 w 12192000"/>
              <a:gd name="connsiteY3" fmla="*/ 2067059 h 2813398"/>
              <a:gd name="connsiteX4" fmla="*/ 12192000 w 12192000"/>
              <a:gd name="connsiteY4" fmla="*/ 2813398 h 2813398"/>
              <a:gd name="connsiteX5" fmla="*/ 0 w 12192000"/>
              <a:gd name="connsiteY5" fmla="*/ 2813398 h 2813398"/>
              <a:gd name="connsiteX6" fmla="*/ 0 w 12192000"/>
              <a:gd name="connsiteY6" fmla="*/ 349268 h 2813398"/>
              <a:gd name="connsiteX0" fmla="*/ 0 w 12192000"/>
              <a:gd name="connsiteY0" fmla="*/ 424103 h 2888233"/>
              <a:gd name="connsiteX1" fmla="*/ 6602681 w 12192000"/>
              <a:gd name="connsiteY1" fmla="*/ 2339990 h 2888233"/>
              <a:gd name="connsiteX2" fmla="*/ 10244117 w 12192000"/>
              <a:gd name="connsiteY2" fmla="*/ 2054981 h 2888233"/>
              <a:gd name="connsiteX3" fmla="*/ 12192000 w 12192000"/>
              <a:gd name="connsiteY3" fmla="*/ 2141894 h 2888233"/>
              <a:gd name="connsiteX4" fmla="*/ 12192000 w 12192000"/>
              <a:gd name="connsiteY4" fmla="*/ 2888233 h 2888233"/>
              <a:gd name="connsiteX5" fmla="*/ 0 w 12192000"/>
              <a:gd name="connsiteY5" fmla="*/ 2888233 h 2888233"/>
              <a:gd name="connsiteX6" fmla="*/ 0 w 12192000"/>
              <a:gd name="connsiteY6" fmla="*/ 424103 h 2888233"/>
              <a:gd name="connsiteX0" fmla="*/ 0 w 12192000"/>
              <a:gd name="connsiteY0" fmla="*/ 337006 h 2801136"/>
              <a:gd name="connsiteX1" fmla="*/ 6602681 w 12192000"/>
              <a:gd name="connsiteY1" fmla="*/ 2252893 h 2801136"/>
              <a:gd name="connsiteX2" fmla="*/ 10244117 w 12192000"/>
              <a:gd name="connsiteY2" fmla="*/ 1967884 h 2801136"/>
              <a:gd name="connsiteX3" fmla="*/ 12192000 w 12192000"/>
              <a:gd name="connsiteY3" fmla="*/ 2054797 h 2801136"/>
              <a:gd name="connsiteX4" fmla="*/ 12192000 w 12192000"/>
              <a:gd name="connsiteY4" fmla="*/ 2801136 h 2801136"/>
              <a:gd name="connsiteX5" fmla="*/ 0 w 12192000"/>
              <a:gd name="connsiteY5" fmla="*/ 2801136 h 2801136"/>
              <a:gd name="connsiteX6" fmla="*/ 0 w 12192000"/>
              <a:gd name="connsiteY6" fmla="*/ 337006 h 2801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801136">
                <a:moveTo>
                  <a:pt x="0" y="337006"/>
                </a:moveTo>
                <a:cubicBezTo>
                  <a:pt x="1835026" y="-885984"/>
                  <a:pt x="4876278" y="1561213"/>
                  <a:pt x="6602681" y="2252893"/>
                </a:cubicBezTo>
                <a:cubicBezTo>
                  <a:pt x="8207523" y="2895870"/>
                  <a:pt x="9234755" y="2119901"/>
                  <a:pt x="10244117" y="1967884"/>
                </a:cubicBezTo>
                <a:cubicBezTo>
                  <a:pt x="11253479" y="1815867"/>
                  <a:pt x="11586633" y="1903455"/>
                  <a:pt x="12192000" y="2054797"/>
                </a:cubicBezTo>
                <a:lnTo>
                  <a:pt x="12192000" y="2801136"/>
                </a:lnTo>
                <a:lnTo>
                  <a:pt x="0" y="2801136"/>
                </a:lnTo>
                <a:lnTo>
                  <a:pt x="0" y="337006"/>
                </a:lnTo>
                <a:close/>
              </a:path>
            </a:pathLst>
          </a:custGeom>
          <a:gradFill>
            <a:gsLst>
              <a:gs pos="63000">
                <a:srgbClr val="FFD437"/>
              </a:gs>
              <a:gs pos="0">
                <a:srgbClr val="009440"/>
              </a:gs>
            </a:gsLst>
            <a:lin ang="10800000" scaled="0"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kumimoji="1" lang="en-US" sz="1600" err="1">
              <a:solidFill>
                <a:schemeClr val="tx1"/>
              </a:solidFill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085DC10-2791-78BB-457B-36EBC0E1FF9A}"/>
              </a:ext>
            </a:extLst>
          </p:cNvPr>
          <p:cNvSpPr/>
          <p:nvPr userDrawn="1"/>
        </p:nvSpPr>
        <p:spPr bwMode="gray">
          <a:xfrm>
            <a:off x="0" y="6381549"/>
            <a:ext cx="12192000" cy="476451"/>
          </a:xfrm>
          <a:custGeom>
            <a:avLst/>
            <a:gdLst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2052534 w 12192000"/>
              <a:gd name="connsiteY2" fmla="*/ 1714643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807700 w 12192000"/>
              <a:gd name="connsiteY2" fmla="*/ 1651330 h 2464130"/>
              <a:gd name="connsiteX3" fmla="*/ 12052534 w 12192000"/>
              <a:gd name="connsiteY3" fmla="*/ 1714643 h 2464130"/>
              <a:gd name="connsiteX4" fmla="*/ 12192000 w 12192000"/>
              <a:gd name="connsiteY4" fmla="*/ 1717791 h 2464130"/>
              <a:gd name="connsiteX5" fmla="*/ 12192000 w 12192000"/>
              <a:gd name="connsiteY5" fmla="*/ 2464130 h 2464130"/>
              <a:gd name="connsiteX6" fmla="*/ 0 w 12192000"/>
              <a:gd name="connsiteY6" fmla="*/ 2464130 h 2464130"/>
              <a:gd name="connsiteX7" fmla="*/ 0 w 12192000"/>
              <a:gd name="connsiteY7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807700 w 12192000"/>
              <a:gd name="connsiteY2" fmla="*/ 16513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807700 w 12192000"/>
              <a:gd name="connsiteY2" fmla="*/ 16513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807700 w 12192000"/>
              <a:gd name="connsiteY2" fmla="*/ 16513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604500 w 12192000"/>
              <a:gd name="connsiteY2" fmla="*/ 16513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604500 w 12192000"/>
              <a:gd name="connsiteY2" fmla="*/ 15624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541000 w 12192000"/>
              <a:gd name="connsiteY2" fmla="*/ 1702130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374745 w 12192000"/>
              <a:gd name="connsiteY2" fmla="*/ 1725881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374745 w 12192000"/>
              <a:gd name="connsiteY2" fmla="*/ 1642754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1915887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44117 w 12192000"/>
              <a:gd name="connsiteY2" fmla="*/ 163087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34592 w 12192000"/>
              <a:gd name="connsiteY2" fmla="*/ 1523789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34592 w 12192000"/>
              <a:gd name="connsiteY2" fmla="*/ 1523789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34592 w 12192000"/>
              <a:gd name="connsiteY2" fmla="*/ 1523789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34592 w 12192000"/>
              <a:gd name="connsiteY2" fmla="*/ 1523789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44117 w 12192000"/>
              <a:gd name="connsiteY2" fmla="*/ 187182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44117 w 12192000"/>
              <a:gd name="connsiteY2" fmla="*/ 187182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44117 w 12192000"/>
              <a:gd name="connsiteY2" fmla="*/ 187182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44117 w 12192000"/>
              <a:gd name="connsiteY2" fmla="*/ 187182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0244117 w 12192000"/>
              <a:gd name="connsiteY2" fmla="*/ 1871828 h 2464130"/>
              <a:gd name="connsiteX3" fmla="*/ 12192000 w 12192000"/>
              <a:gd name="connsiteY3" fmla="*/ 1717791 h 2464130"/>
              <a:gd name="connsiteX4" fmla="*/ 12192000 w 12192000"/>
              <a:gd name="connsiteY4" fmla="*/ 2464130 h 2464130"/>
              <a:gd name="connsiteX5" fmla="*/ 0 w 12192000"/>
              <a:gd name="connsiteY5" fmla="*/ 2464130 h 2464130"/>
              <a:gd name="connsiteX6" fmla="*/ 0 w 12192000"/>
              <a:gd name="connsiteY6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2192000 w 12192000"/>
              <a:gd name="connsiteY2" fmla="*/ 1717791 h 2464130"/>
              <a:gd name="connsiteX3" fmla="*/ 12192000 w 12192000"/>
              <a:gd name="connsiteY3" fmla="*/ 2464130 h 2464130"/>
              <a:gd name="connsiteX4" fmla="*/ 0 w 12192000"/>
              <a:gd name="connsiteY4" fmla="*/ 2464130 h 2464130"/>
              <a:gd name="connsiteX5" fmla="*/ 0 w 12192000"/>
              <a:gd name="connsiteY5" fmla="*/ 0 h 2464130"/>
              <a:gd name="connsiteX0" fmla="*/ 0 w 12192000"/>
              <a:gd name="connsiteY0" fmla="*/ 0 h 2464130"/>
              <a:gd name="connsiteX1" fmla="*/ 6602681 w 12192000"/>
              <a:gd name="connsiteY1" fmla="*/ 2022975 h 2464130"/>
              <a:gd name="connsiteX2" fmla="*/ 12192000 w 12192000"/>
              <a:gd name="connsiteY2" fmla="*/ 1717791 h 2464130"/>
              <a:gd name="connsiteX3" fmla="*/ 12192000 w 12192000"/>
              <a:gd name="connsiteY3" fmla="*/ 2464130 h 2464130"/>
              <a:gd name="connsiteX4" fmla="*/ 0 w 12192000"/>
              <a:gd name="connsiteY4" fmla="*/ 2464130 h 2464130"/>
              <a:gd name="connsiteX5" fmla="*/ 0 w 12192000"/>
              <a:gd name="connsiteY5" fmla="*/ 0 h 2464130"/>
              <a:gd name="connsiteX0" fmla="*/ 0 w 12192000"/>
              <a:gd name="connsiteY0" fmla="*/ 0 h 2464130"/>
              <a:gd name="connsiteX1" fmla="*/ 6564180 w 12192000"/>
              <a:gd name="connsiteY1" fmla="*/ 1624729 h 2464130"/>
              <a:gd name="connsiteX2" fmla="*/ 12192000 w 12192000"/>
              <a:gd name="connsiteY2" fmla="*/ 1717791 h 2464130"/>
              <a:gd name="connsiteX3" fmla="*/ 12192000 w 12192000"/>
              <a:gd name="connsiteY3" fmla="*/ 2464130 h 2464130"/>
              <a:gd name="connsiteX4" fmla="*/ 0 w 12192000"/>
              <a:gd name="connsiteY4" fmla="*/ 2464130 h 2464130"/>
              <a:gd name="connsiteX5" fmla="*/ 0 w 12192000"/>
              <a:gd name="connsiteY5" fmla="*/ 0 h 2464130"/>
              <a:gd name="connsiteX0" fmla="*/ 0 w 12192000"/>
              <a:gd name="connsiteY0" fmla="*/ 0 h 2464130"/>
              <a:gd name="connsiteX1" fmla="*/ 6564180 w 12192000"/>
              <a:gd name="connsiteY1" fmla="*/ 1574950 h 2464130"/>
              <a:gd name="connsiteX2" fmla="*/ 12192000 w 12192000"/>
              <a:gd name="connsiteY2" fmla="*/ 1717791 h 2464130"/>
              <a:gd name="connsiteX3" fmla="*/ 12192000 w 12192000"/>
              <a:gd name="connsiteY3" fmla="*/ 2464130 h 2464130"/>
              <a:gd name="connsiteX4" fmla="*/ 0 w 12192000"/>
              <a:gd name="connsiteY4" fmla="*/ 2464130 h 2464130"/>
              <a:gd name="connsiteX5" fmla="*/ 0 w 12192000"/>
              <a:gd name="connsiteY5" fmla="*/ 0 h 2464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2464130">
                <a:moveTo>
                  <a:pt x="0" y="0"/>
                </a:moveTo>
                <a:cubicBezTo>
                  <a:pt x="3501901" y="36615"/>
                  <a:pt x="4532180" y="1288652"/>
                  <a:pt x="6564180" y="1574950"/>
                </a:cubicBezTo>
                <a:cubicBezTo>
                  <a:pt x="8596180" y="1861248"/>
                  <a:pt x="10707997" y="1617493"/>
                  <a:pt x="12192000" y="1717791"/>
                </a:cubicBezTo>
                <a:lnTo>
                  <a:pt x="12192000" y="2464130"/>
                </a:lnTo>
                <a:lnTo>
                  <a:pt x="0" y="2464130"/>
                </a:lnTo>
                <a:lnTo>
                  <a:pt x="0" y="0"/>
                </a:lnTo>
                <a:close/>
              </a:path>
            </a:pathLst>
          </a:custGeom>
          <a:solidFill>
            <a:srgbClr val="009440">
              <a:alpha val="5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kumimoji="1" lang="en-US" sz="1600" err="1">
              <a:solidFill>
                <a:schemeClr val="tx1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34964" y="1"/>
            <a:ext cx="10619234" cy="876687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Number">
            <a:extLst>
              <a:ext uri="{FF2B5EF4-FFF2-40B4-BE49-F238E27FC236}">
                <a16:creationId xmlns:a16="http://schemas.microsoft.com/office/drawing/2014/main" id="{57546B8D-2123-F097-3C7A-9E3873AE4664}"/>
              </a:ext>
            </a:extLst>
          </p:cNvPr>
          <p:cNvSpPr/>
          <p:nvPr userDrawn="1"/>
        </p:nvSpPr>
        <p:spPr bwMode="gray">
          <a:xfrm>
            <a:off x="11715975" y="6443276"/>
            <a:ext cx="141064" cy="138499"/>
          </a:xfrm>
          <a:prstGeom prst="rect">
            <a:avLst/>
          </a:prstGeom>
          <a:noFill/>
          <a:ln w="190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tx1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0"/>
                </a:spcBef>
                <a:buNone/>
              </a:pPr>
              <a:t>‹#›</a:t>
            </a:fld>
            <a:endParaRPr lang="fr-FR" sz="900" b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9" name="Picture 8" descr="A logo with blue green yellow and blue text&#10;&#10;Description automatically generated">
            <a:extLst>
              <a:ext uri="{FF2B5EF4-FFF2-40B4-BE49-F238E27FC236}">
                <a16:creationId xmlns:a16="http://schemas.microsoft.com/office/drawing/2014/main" id="{F8B52B33-0DA6-D110-6724-B010EE7407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4197" y="90213"/>
            <a:ext cx="1237803" cy="6962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367534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77D108E-5FA6-FD84-333C-B9FA472C7F1A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7721600" y="3570288"/>
            <a:ext cx="4470400" cy="3287712"/>
          </a:xfrm>
          <a:prstGeom prst="rect">
            <a:avLst/>
          </a:prstGeom>
          <a:solidFill>
            <a:srgbClr val="FFCE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>
              <a:solidFill>
                <a:srgbClr val="211E20"/>
              </a:solidFill>
            </a:endParaRPr>
          </a:p>
        </p:txBody>
      </p:sp>
      <p:pic>
        <p:nvPicPr>
          <p:cNvPr id="3" name="Picture 2" descr="A river with trees and a sunset&#10;&#10;Description automatically generated">
            <a:extLst>
              <a:ext uri="{FF2B5EF4-FFF2-40B4-BE49-F238E27FC236}">
                <a16:creationId xmlns:a16="http://schemas.microsoft.com/office/drawing/2014/main" id="{DA50950C-6706-DDBC-6381-7A46C63246ED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79" t="1766" b="9948"/>
          <a:stretch>
            <a:fillRect/>
          </a:stretch>
        </p:blipFill>
        <p:spPr>
          <a:xfrm>
            <a:off x="546100" y="1"/>
            <a:ext cx="11645896" cy="6857999"/>
          </a:xfrm>
          <a:custGeom>
            <a:avLst/>
            <a:gdLst>
              <a:gd name="connsiteX0" fmla="*/ 0 w 11645896"/>
              <a:gd name="connsiteY0" fmla="*/ 0 h 6857999"/>
              <a:gd name="connsiteX1" fmla="*/ 11645896 w 11645896"/>
              <a:gd name="connsiteY1" fmla="*/ 0 h 6857999"/>
              <a:gd name="connsiteX2" fmla="*/ 11645896 w 11645896"/>
              <a:gd name="connsiteY2" fmla="*/ 4806565 h 6857999"/>
              <a:gd name="connsiteX3" fmla="*/ 9594462 w 11645896"/>
              <a:gd name="connsiteY3" fmla="*/ 6857999 h 6857999"/>
              <a:gd name="connsiteX4" fmla="*/ 0 w 11645896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45896" h="6857999">
                <a:moveTo>
                  <a:pt x="0" y="0"/>
                </a:moveTo>
                <a:lnTo>
                  <a:pt x="11645896" y="0"/>
                </a:lnTo>
                <a:lnTo>
                  <a:pt x="11645896" y="4806565"/>
                </a:lnTo>
                <a:cubicBezTo>
                  <a:pt x="11645896" y="5939541"/>
                  <a:pt x="10727438" y="6857999"/>
                  <a:pt x="9594462" y="6857999"/>
                </a:cubicBezTo>
                <a:lnTo>
                  <a:pt x="0" y="6857999"/>
                </a:lnTo>
                <a:close/>
              </a:path>
            </a:pathLst>
          </a:cu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D8319E41-1612-4B93-F174-78BF41ACCD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 flipV="1">
            <a:off x="0" y="0"/>
            <a:ext cx="6201282" cy="6858000"/>
          </a:xfrm>
          <a:custGeom>
            <a:avLst/>
            <a:gdLst>
              <a:gd name="connsiteX0" fmla="*/ 0 w 4041874"/>
              <a:gd name="connsiteY0" fmla="*/ 0 h 4469909"/>
              <a:gd name="connsiteX1" fmla="*/ 0 w 4041874"/>
              <a:gd name="connsiteY1" fmla="*/ 4469910 h 4469909"/>
              <a:gd name="connsiteX2" fmla="*/ 4041874 w 4041874"/>
              <a:gd name="connsiteY2" fmla="*/ 4469910 h 4469909"/>
              <a:gd name="connsiteX3" fmla="*/ 1383396 w 4041874"/>
              <a:gd name="connsiteY3" fmla="*/ 0 h 4469909"/>
              <a:gd name="connsiteX4" fmla="*/ 0 w 4041874"/>
              <a:gd name="connsiteY4" fmla="*/ 0 h 4469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41873" h="4469909">
                <a:moveTo>
                  <a:pt x="0" y="0"/>
                </a:moveTo>
                <a:lnTo>
                  <a:pt x="0" y="4469910"/>
                </a:lnTo>
                <a:lnTo>
                  <a:pt x="4041874" y="4469910"/>
                </a:lnTo>
                <a:lnTo>
                  <a:pt x="138339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4138" cap="flat">
            <a:noFill/>
            <a:prstDash val="solid"/>
            <a:miter/>
          </a:ln>
        </p:spPr>
        <p:txBody>
          <a:bodyPr rtlCol="0" anchor="ctr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DE245096-3B23-D677-CCA3-BFBF479A753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 flipV="1">
            <a:off x="5207000" y="-2"/>
            <a:ext cx="994282" cy="1671765"/>
          </a:xfrm>
          <a:custGeom>
            <a:avLst/>
            <a:gdLst>
              <a:gd name="connsiteX0" fmla="*/ 0 w 704300"/>
              <a:gd name="connsiteY0" fmla="*/ 1184195 h 1184194"/>
              <a:gd name="connsiteX1" fmla="*/ 704300 w 704300"/>
              <a:gd name="connsiteY1" fmla="*/ 1184195 h 1184194"/>
              <a:gd name="connsiteX2" fmla="*/ 0 w 704300"/>
              <a:gd name="connsiteY2" fmla="*/ 0 h 1184194"/>
              <a:gd name="connsiteX3" fmla="*/ 0 w 704300"/>
              <a:gd name="connsiteY3" fmla="*/ 1184195 h 118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300" h="1184194">
                <a:moveTo>
                  <a:pt x="0" y="1184195"/>
                </a:moveTo>
                <a:lnTo>
                  <a:pt x="704300" y="1184195"/>
                </a:lnTo>
                <a:lnTo>
                  <a:pt x="0" y="0"/>
                </a:lnTo>
                <a:lnTo>
                  <a:pt x="0" y="1184195"/>
                </a:lnTo>
                <a:close/>
              </a:path>
            </a:pathLst>
          </a:custGeom>
          <a:solidFill>
            <a:srgbClr val="183E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211E2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9CC4AFE-3CCD-DB5B-58D8-5DA32946934C}"/>
              </a:ext>
            </a:extLst>
          </p:cNvPr>
          <p:cNvGrpSpPr/>
          <p:nvPr userDrawn="1"/>
        </p:nvGrpSpPr>
        <p:grpSpPr>
          <a:xfrm>
            <a:off x="273050" y="714805"/>
            <a:ext cx="4263828" cy="1705344"/>
            <a:chOff x="6631554" y="1441828"/>
            <a:chExt cx="5159231" cy="2063466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7E3187C-3713-F6E7-741D-E5DC40A0FB9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631554" y="1441828"/>
              <a:ext cx="4138249" cy="2061737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DDE2AAB-1BDC-5924-2E38-4E3C9F291BC0}"/>
                </a:ext>
              </a:extLst>
            </p:cNvPr>
            <p:cNvSpPr txBox="1"/>
            <p:nvPr/>
          </p:nvSpPr>
          <p:spPr bwMode="gray">
            <a:xfrm>
              <a:off x="8445422" y="2946679"/>
              <a:ext cx="3345363" cy="55861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0" indent="0" defTabSz="948243">
                <a:spcBef>
                  <a:spcPts val="800"/>
                </a:spcBef>
                <a:buNone/>
                <a:defRPr/>
              </a:pPr>
              <a:r>
                <a:rPr lang="en-US" sz="1200">
                  <a:solidFill>
                    <a:srgbClr val="0121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azil </a:t>
              </a:r>
              <a:r>
                <a:rPr lang="en-US" sz="1200" b="1">
                  <a:solidFill>
                    <a:srgbClr val="41598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mate</a:t>
              </a:r>
              <a:r>
                <a:rPr lang="en-US" sz="1200">
                  <a:solidFill>
                    <a:srgbClr val="0121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&amp; </a:t>
              </a:r>
              <a:r>
                <a:rPr lang="en-US" sz="1200" b="1">
                  <a:solidFill>
                    <a:srgbClr val="00973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cological</a:t>
              </a:r>
              <a:r>
                <a:rPr lang="en-US" sz="1200">
                  <a:solidFill>
                    <a:srgbClr val="0121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b="1">
                  <a:solidFill>
                    <a:srgbClr val="00973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formation</a:t>
              </a:r>
              <a:r>
                <a:rPr lang="en-US" sz="1200">
                  <a:solidFill>
                    <a:srgbClr val="0121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vestment Platform</a:t>
              </a:r>
              <a:endParaRPr lang="pt-BR" sz="1200">
                <a:solidFill>
                  <a:srgbClr val="01216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72215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03298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25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DD20DF4-3D77-0863-3CC5-EE5650464A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28851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06" imgH="306" progId="TCLayout.ActiveDocument.1">
                  <p:embed/>
                </p:oleObj>
              </mc:Choice>
              <mc:Fallback>
                <p:oleObj name="think-cell Slide" r:id="rId10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D20DF4-3D77-0863-3CC5-EE5650464A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pt-BR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061676553697A653D227769646573637265656E22206E616D653D224D3355425F3136395F53312220747970653D22756E6272616E646564222076657273696F6E3D22322E34223E0D0A202020203C212D2D434154626F743A09094361736520636F64653A204D33554209095374796C653A205374796C697A6564090956657273696F6E3A2031090944657369676E6572206F66666963653A20544F4B09094C61737420757064617465643A2033302F31302F323032342030313A31383A323509094E6F7465733A202D2D3E0D0A202020203C73657474696E67733E0D0A2020202020203C72756E6E696E674167656E64614261636B436F6C6F724C6566743E3543354335433C2F72756E6E696E674167656E64614261636B436F6C6F724C6566743E0D0A2020202020203C72756E6E696E674167656E64614261636B436F6C6F7252696768743E4234423442343C2F72756E6E696E674167656E64614261636B436F6C6F7252696768743E0D0A2020202020203C72756E6E696E674167656E646154657874436F6C6F724C6566743E4646464646463C2F72756E6E696E674167656E646154657874436F6C6F724C6566743E0D0A2020202020203C72756E6E696E674167656E646154657874436F6C6F7252696768743E4646464646463C2F72756E6E696E674167656E646154657874436F6C6F7252696768743E0D0A2020202020203C636F6C756D6E4865616465724C696E65436F6C6F723E3030303030303C2F636F6C756D6E4865616465724C696E65436F6C6F723E0D0A2020202020203C636F6C756D6E48656164657254657874436F6C6F723E3030303030303C2F636F6C756D6E48656164657254657874436F6C6F723E0D0A2020202020203C726F774865616465724C696E65436F6C6F723E3030303030303C2F726F774865616465724C696E65436F6C6F723E0D0A2020202020203C726F7748656164657254657874436F6C6F723E3030303030303C2F726F7748656164657254657874436F6C6F723E0D0A2020202020203C636F6E636C7573696F6E4172726F774C696E65436F6C6F723E4633303630303C2F636F6E636C7573696F6E4172726F774C696E65436F6C6F723E0D0A2020202020203C636F6E636C7573696F6E4172726F7754657874436F6C6F723E4633303630303C2F636F6E636C7573696F6E4172726F7754657874436F6C6F723E0D0A2020202020203C70657263656E74616765436972636C6546756C6C436972636C65436F6C6F723E4234423442343C2F70657263656E74616765436972636C6546756C6C436972636C65436F6C6F723E0D0A2020202020203C70657263656E74616765436972636C6554657874486967686C69676874436F6C6F723E4633303630303C2F70657263656E74616765436972636C6554657874486967686C69676874436F6C6F723E0D0A2020202020203C737461747573537469636B6572436F6C6F723E3030303030303C2F737461747573537469636B6572436F6C6F723E0D0A2020202020203C63616C6C6F75744261636B436F6C6F723E4646464646463C2F63616C6C6F75744261636B436F6C6F723E0D0A2020202020203C63616C6C6F7574546578744C696E65436F6C6F723E3030303030303C2F63616C6C6F7574546578744C696E65436F6C6F723E0D0A2020202020203C6E756D626572427562626C654261636B436F6C6F723E4646464646463C2F6E756D626572427562626C654261636B436F6C6F723E0D0A2020202020203C6E756D626572427562626C65546578744C696E65436F6C6F723E4633303630303C2F6E756D626572427562626C65546578744C696E65436F6C6F723E0D0A2020202020203C76616C7565436861696E546578744C696E65436F6C6F723E3543354335433C2F76616C7565436861696E546578744C696E65436F6C6F723E0D0A2020202020203C73657175656E63654172726F7746696C6C436F6C6F723E4633303630303C2F73657175656E63654172726F7746696C6C436F6C6F723E0D0A2020202020203C6167656E6461486967686C69676874436F6C6F723E4633303630303C2F6167656E6461486967686C69676874436F6C6F723E0D0A2020202020203C6167656E646154657874436F6C6F723E3030303030303C2F6167656E646154657874436F6C6F723E0D0A2020202020203C6167656E64614974656D466F6E7453697A653E32303C2F6167656E64614974656D466F6E7453697A653E0D0A2020202020203C6167656E64615469746C65466F6E7453697A653E31323C2F6167656E64615469746C65466F6E7453697A653E0D0A2020202020203C7461626C65416363656E744E756D6265723E303C2F7461626C65416363656E744E756D6265723E0D0A2020202020203C6E6F746573466F6E7453697A653E383C2F6E6F746573466F6E7453697A653E0D0A2020202020203C6E6F74657354657874436F6C6F723E3030303030303C2F6E6F74657354657874436F6C6F723E0D0A2020202020203C737461747573537469636B657252756E6E696E674167656E6461466F6E7453697A653E31323C2F737461747573537469636B657252756E6E696E674167656E6461466F6E7453697A653E0D0A2020202020203C636F6C756D6E53706163696E673E34323C2F636F6C756D6E53706163696E673E0D0A202020203C2F73657474696E67733E0D0A202020203C636F6C6F72733E0D0A2020202020203C636F6C6F7220636F6E7472617374696E6754657874436F6C6F723D2223464646464646223E234633303630303C2F636F6C6F723E0D0A2020202020203C636F6C6F7220636F6E7472617374696E6754657874436F6C6F723D2223464646464646223E233138334546463C2F636F6C6F723E0D0A2020202020203C636F6C6F7220636F6E7472617374696E6754657874436F6C6F723D2223303030303030223E234646434530303C2F636F6C6F723E0D0A2020202020203C636F6C6F7220636F6E7472617374696E6754657874436F6C6F723D2223303030303030223E233030434530303C2F636F6C6F723E0D0A2020202020203C636F6C6F7220636F6E7472617374696E6754657874436F6C6F723D2223464646464646223E233431353938463C2F636F6C6F723E0D0A2020202020203C636F6C6F7220636F6E7472617374696E6754657874436F6C6F723D2223464646464646223E233031323136393C2F636F6C6F723E0D0A2020202020203C636F6C6F7220636F6E7472617374696E6754657874436F6C6F723D2223464646464646223E233030393733393C2F636F6C6F723E0D0A2020202020203C636F6C6F7220636F6E7472617374696E6754657874436F6C6F723D2223303030303030223E233746433939463C2F636F6C6F723E0D0A202020203C2F636F6C6F72733E0D0A20203C2F74656D706C617465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03122202F3E0D0A20203C2F4775696465733E0D0A3C2F627466703E --&gt;&lt;/BTFP&gt;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pt-BR"/>
              <a:t>Click to edit Master title style</a:t>
            </a:r>
          </a:p>
        </p:txBody>
      </p:sp>
      <p:sp>
        <p:nvSpPr>
          <p:cNvPr id="4" name="T-Helper data -- do not delete" hidden="1">
            <a:extLst>
              <a:ext uri="{FF2B5EF4-FFF2-40B4-BE49-F238E27FC236}">
                <a16:creationId xmlns:a16="http://schemas.microsoft.com/office/drawing/2014/main" id="{F81F06C3-BA6B-74BB-1FC2-17D5FAA4D78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gray">
          <a:xfrm>
            <a:off x="0" y="0"/>
            <a:ext cx="12700" cy="12700"/>
          </a:xfrm>
          <a:prstGeom prst="rect">
            <a:avLst/>
          </a:prstGeom>
          <a:solidFill>
            <a:schemeClr val="lt1"/>
          </a:solidFill>
          <a:ln w="9525" cap="flat" cmpd="sng" algn="ctr">
            <a:solidFill>
              <a:schemeClr val="dk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kumimoji="1" lang="pt-BR">
              <a:solidFill>
                <a:schemeClr val="dk1"/>
              </a:solidFill>
            </a:endParaRPr>
          </a:p>
        </p:txBody>
      </p:sp>
    </p:spTree>
    <p:custDataLst>
      <p:tags r:id="rId7"/>
    </p:custDataLst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  <p:sldLayoutId id="2147483664" r:id="rId5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indent="-177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indent="-177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indent="-177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177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2" userDrawn="1">
          <p15:clr>
            <a:srgbClr val="A4A3A4"/>
          </p15:clr>
        </p15:guide>
        <p15:guide id="2" pos="208" userDrawn="1">
          <p15:clr>
            <a:srgbClr val="A4A3A4"/>
          </p15:clr>
        </p15:guide>
        <p15:guide id="3" orient="horz" pos="800" userDrawn="1">
          <p15:clr>
            <a:srgbClr val="A4A3A4"/>
          </p15:clr>
        </p15:guide>
        <p15:guide id="4" orient="horz" pos="4008" userDrawn="1">
          <p15:clr>
            <a:srgbClr val="A4A3A4"/>
          </p15:clr>
        </p15:guide>
        <p15:guide id="5" pos="7472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DD20DF4-3D77-0863-3CC5-EE5650464A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28851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06" imgH="306" progId="TCLayout.ActiveDocument.1">
                  <p:embed/>
                </p:oleObj>
              </mc:Choice>
              <mc:Fallback>
                <p:oleObj name="think-cell Slide" r:id="rId10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D20DF4-3D77-0863-3CC5-EE5650464A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061676553697A653D227769646573637265656E22206E616D653D224D3355425F3136395F53312220747970653D22756E6272616E646564222076657273696F6E3D22322E34223E0D0A202020203C212D2D434154626F743A09094361736520636F64653A204D33554209095374796C653A205374796C697A6564090956657273696F6E3A2031090944657369676E6572206F66666963653A20544F4B09094C61737420757064617465643A2033302F31302F323032342030313A31383A323509094E6F7465733A202D2D3E0D0A202020203C73657474696E67733E0D0A2020202020203C72756E6E696E674167656E64614261636B436F6C6F724C6566743E3543354335433C2F72756E6E696E674167656E64614261636B436F6C6F724C6566743E0D0A2020202020203C72756E6E696E674167656E64614261636B436F6C6F7252696768743E4234423442343C2F72756E6E696E674167656E64614261636B436F6C6F7252696768743E0D0A2020202020203C72756E6E696E674167656E646154657874436F6C6F724C6566743E4646464646463C2F72756E6E696E674167656E646154657874436F6C6F724C6566743E0D0A2020202020203C72756E6E696E674167656E646154657874436F6C6F7252696768743E4646464646463C2F72756E6E696E674167656E646154657874436F6C6F7252696768743E0D0A2020202020203C636F6C756D6E4865616465724C696E65436F6C6F723E3030303030303C2F636F6C756D6E4865616465724C696E65436F6C6F723E0D0A2020202020203C636F6C756D6E48656164657254657874436F6C6F723E3030303030303C2F636F6C756D6E48656164657254657874436F6C6F723E0D0A2020202020203C726F774865616465724C696E65436F6C6F723E3030303030303C2F726F774865616465724C696E65436F6C6F723E0D0A2020202020203C726F7748656164657254657874436F6C6F723E3030303030303C2F726F7748656164657254657874436F6C6F723E0D0A2020202020203C636F6E636C7573696F6E4172726F774C696E65436F6C6F723E4633303630303C2F636F6E636C7573696F6E4172726F774C696E65436F6C6F723E0D0A2020202020203C636F6E636C7573696F6E4172726F7754657874436F6C6F723E4633303630303C2F636F6E636C7573696F6E4172726F7754657874436F6C6F723E0D0A2020202020203C70657263656E74616765436972636C6546756C6C436972636C65436F6C6F723E4234423442343C2F70657263656E74616765436972636C6546756C6C436972636C65436F6C6F723E0D0A2020202020203C70657263656E74616765436972636C6554657874486967686C69676874436F6C6F723E4633303630303C2F70657263656E74616765436972636C6554657874486967686C69676874436F6C6F723E0D0A2020202020203C737461747573537469636B6572436F6C6F723E3030303030303C2F737461747573537469636B6572436F6C6F723E0D0A2020202020203C63616C6C6F75744261636B436F6C6F723E4646464646463C2F63616C6C6F75744261636B436F6C6F723E0D0A2020202020203C63616C6C6F7574546578744C696E65436F6C6F723E3030303030303C2F63616C6C6F7574546578744C696E65436F6C6F723E0D0A2020202020203C6E756D626572427562626C654261636B436F6C6F723E4646464646463C2F6E756D626572427562626C654261636B436F6C6F723E0D0A2020202020203C6E756D626572427562626C65546578744C696E65436F6C6F723E4633303630303C2F6E756D626572427562626C65546578744C696E65436F6C6F723E0D0A2020202020203C76616C7565436861696E546578744C696E65436F6C6F723E3543354335433C2F76616C7565436861696E546578744C696E65436F6C6F723E0D0A2020202020203C73657175656E63654172726F7746696C6C436F6C6F723E4633303630303C2F73657175656E63654172726F7746696C6C436F6C6F723E0D0A2020202020203C6167656E6461486967686C69676874436F6C6F723E4633303630303C2F6167656E6461486967686C69676874436F6C6F723E0D0A2020202020203C6167656E646154657874436F6C6F723E3030303030303C2F6167656E646154657874436F6C6F723E0D0A2020202020203C6167656E64614974656D466F6E7453697A653E32303C2F6167656E64614974656D466F6E7453697A653E0D0A2020202020203C6167656E64615469746C65466F6E7453697A653E31323C2F6167656E64615469746C65466F6E7453697A653E0D0A2020202020203C7461626C65416363656E744E756D6265723E303C2F7461626C65416363656E744E756D6265723E0D0A2020202020203C6E6F746573466F6E7453697A653E383C2F6E6F746573466F6E7453697A653E0D0A2020202020203C6E6F74657354657874436F6C6F723E3030303030303C2F6E6F74657354657874436F6C6F723E0D0A2020202020203C737461747573537469636B657252756E6E696E674167656E6461466F6E7453697A653E31323C2F737461747573537469636B657252756E6E696E674167656E6461466F6E7453697A653E0D0A2020202020203C636F6C756D6E53706163696E673E34323C2F636F6C756D6E53706163696E673E0D0A202020203C2F73657474696E67733E0D0A202020203C636F6C6F72733E0D0A2020202020203C636F6C6F7220636F6E7472617374696E6754657874436F6C6F723D2223464646464646223E234633303630303C2F636F6C6F723E0D0A2020202020203C636F6C6F7220636F6E7472617374696E6754657874436F6C6F723D2223464646464646223E233138334546463C2F636F6C6F723E0D0A2020202020203C636F6C6F7220636F6E7472617374696E6754657874436F6C6F723D2223303030303030223E234646434530303C2F636F6C6F723E0D0A2020202020203C636F6C6F7220636F6E7472617374696E6754657874436F6C6F723D2223303030303030223E233030434530303C2F636F6C6F723E0D0A2020202020203C636F6C6F7220636F6E7472617374696E6754657874436F6C6F723D2223464646464646223E233431353938463C2F636F6C6F723E0D0A2020202020203C636F6C6F7220636F6E7472617374696E6754657874436F6C6F723D2223464646464646223E233031323136393C2F636F6C6F723E0D0A2020202020203C636F6C6F7220636F6E7472617374696E6754657874436F6C6F723D2223464646464646223E233030393733393C2F636F6C6F723E0D0A2020202020203C636F6C6F7220636F6E7472617374696E6754657874436F6C6F723D2223303030303030223E233746433939463C2F636F6C6F723E0D0A202020203C2F636F6C6F72733E0D0A20203C2F74656D706C617465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03122202F3E0D0A20203C2F4775696465733E0D0A3C2F627466703E --&gt;&lt;/BTFP&gt;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-Helper data -- do not delete" hidden="1">
            <a:extLst>
              <a:ext uri="{FF2B5EF4-FFF2-40B4-BE49-F238E27FC236}">
                <a16:creationId xmlns:a16="http://schemas.microsoft.com/office/drawing/2014/main" id="{F81F06C3-BA6B-74BB-1FC2-17D5FAA4D78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gray">
          <a:xfrm>
            <a:off x="0" y="0"/>
            <a:ext cx="12700" cy="12700"/>
          </a:xfrm>
          <a:prstGeom prst="rect">
            <a:avLst/>
          </a:prstGeom>
          <a:solidFill>
            <a:schemeClr val="lt1"/>
          </a:solidFill>
          <a:ln w="9525" cap="flat" cmpd="sng" algn="ctr">
            <a:solidFill>
              <a:schemeClr val="dk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kumimoji="1" lang="en-US" err="1">
              <a:solidFill>
                <a:schemeClr val="dk1"/>
              </a:solidFill>
            </a:endParaRPr>
          </a:p>
        </p:txBody>
      </p:sp>
    </p:spTree>
    <p:custDataLst>
      <p:tags r:id="rId7"/>
    </p:custDataLst>
    <p:extLst>
      <p:ext uri="{BB962C8B-B14F-4D97-AF65-F5344CB8AC3E}">
        <p14:creationId xmlns:p14="http://schemas.microsoft.com/office/powerpoint/2010/main" val="4136237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indent="-177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indent="-177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indent="-177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177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2">
          <p15:clr>
            <a:srgbClr val="A4A3A4"/>
          </p15:clr>
        </p15:guide>
        <p15:guide id="2" pos="208">
          <p15:clr>
            <a:srgbClr val="A4A3A4"/>
          </p15:clr>
        </p15:guide>
        <p15:guide id="3" orient="horz" pos="800">
          <p15:clr>
            <a:srgbClr val="A4A3A4"/>
          </p15:clr>
        </p15:guide>
        <p15:guide id="4" orient="horz" pos="4008">
          <p15:clr>
            <a:srgbClr val="A4A3A4"/>
          </p15:clr>
        </p15:guide>
        <p15:guide id="5" pos="747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tags" Target="../tags/tag50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13.png"/><Relationship Id="rId17" Type="http://schemas.openxmlformats.org/officeDocument/2006/relationships/image" Target="../media/image18.jpeg"/><Relationship Id="rId2" Type="http://schemas.openxmlformats.org/officeDocument/2006/relationships/tags" Target="../tags/tag49.xml"/><Relationship Id="rId16" Type="http://schemas.openxmlformats.org/officeDocument/2006/relationships/image" Target="../media/image17.jpeg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image" Target="../media/image12.jpeg"/><Relationship Id="rId5" Type="http://schemas.openxmlformats.org/officeDocument/2006/relationships/tags" Target="../tags/tag52.xml"/><Relationship Id="rId15" Type="http://schemas.openxmlformats.org/officeDocument/2006/relationships/image" Target="../media/image16.jpeg"/><Relationship Id="rId10" Type="http://schemas.openxmlformats.org/officeDocument/2006/relationships/image" Target="../media/image1.emf"/><Relationship Id="rId4" Type="http://schemas.openxmlformats.org/officeDocument/2006/relationships/tags" Target="../tags/tag51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notesSlide" Target="../notesSlides/notesSlide2.xml"/><Relationship Id="rId26" Type="http://schemas.openxmlformats.org/officeDocument/2006/relationships/image" Target="../media/image25.emf"/><Relationship Id="rId3" Type="http://schemas.openxmlformats.org/officeDocument/2006/relationships/tags" Target="../tags/tag56.xml"/><Relationship Id="rId21" Type="http://schemas.openxmlformats.org/officeDocument/2006/relationships/image" Target="../media/image20.emf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slideLayout" Target="../slideLayouts/slideLayout10.xml"/><Relationship Id="rId25" Type="http://schemas.openxmlformats.org/officeDocument/2006/relationships/image" Target="../media/image24.emf"/><Relationship Id="rId2" Type="http://schemas.openxmlformats.org/officeDocument/2006/relationships/tags" Target="../tags/tag55.xml"/><Relationship Id="rId16" Type="http://schemas.openxmlformats.org/officeDocument/2006/relationships/tags" Target="../tags/tag69.xml"/><Relationship Id="rId20" Type="http://schemas.openxmlformats.org/officeDocument/2006/relationships/image" Target="../media/image2.emf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24" Type="http://schemas.openxmlformats.org/officeDocument/2006/relationships/image" Target="../media/image23.emf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23" Type="http://schemas.openxmlformats.org/officeDocument/2006/relationships/image" Target="../media/image22.emf"/><Relationship Id="rId10" Type="http://schemas.openxmlformats.org/officeDocument/2006/relationships/tags" Target="../tags/tag63.xml"/><Relationship Id="rId19" Type="http://schemas.openxmlformats.org/officeDocument/2006/relationships/oleObject" Target="../embeddings/oleObject6.bin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Relationship Id="rId22" Type="http://schemas.openxmlformats.org/officeDocument/2006/relationships/image" Target="../media/image21.emf"/><Relationship Id="rId27" Type="http://schemas.openxmlformats.org/officeDocument/2006/relationships/image" Target="../media/image2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image" Target="../media/image31.png"/><Relationship Id="rId3" Type="http://schemas.openxmlformats.org/officeDocument/2006/relationships/tags" Target="../tags/tag72.xml"/><Relationship Id="rId7" Type="http://schemas.openxmlformats.org/officeDocument/2006/relationships/oleObject" Target="../embeddings/oleObject7.bin"/><Relationship Id="rId12" Type="http://schemas.openxmlformats.org/officeDocument/2006/relationships/image" Target="../media/image30.pn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tags" Target="../tags/tag73.xml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86.xml"/><Relationship Id="rId18" Type="http://schemas.openxmlformats.org/officeDocument/2006/relationships/tags" Target="../tags/tag91.xml"/><Relationship Id="rId26" Type="http://schemas.openxmlformats.org/officeDocument/2006/relationships/tags" Target="../tags/tag99.xml"/><Relationship Id="rId39" Type="http://schemas.openxmlformats.org/officeDocument/2006/relationships/tags" Target="../tags/tag112.xml"/><Relationship Id="rId21" Type="http://schemas.openxmlformats.org/officeDocument/2006/relationships/tags" Target="../tags/tag94.xml"/><Relationship Id="rId34" Type="http://schemas.openxmlformats.org/officeDocument/2006/relationships/tags" Target="../tags/tag107.xml"/><Relationship Id="rId42" Type="http://schemas.openxmlformats.org/officeDocument/2006/relationships/tags" Target="../tags/tag115.xml"/><Relationship Id="rId47" Type="http://schemas.openxmlformats.org/officeDocument/2006/relationships/tags" Target="../tags/tag120.xml"/><Relationship Id="rId50" Type="http://schemas.openxmlformats.org/officeDocument/2006/relationships/tags" Target="../tags/tag123.xml"/><Relationship Id="rId55" Type="http://schemas.openxmlformats.org/officeDocument/2006/relationships/oleObject" Target="../embeddings/oleObject8.bin"/><Relationship Id="rId7" Type="http://schemas.openxmlformats.org/officeDocument/2006/relationships/tags" Target="../tags/tag80.xml"/><Relationship Id="rId2" Type="http://schemas.openxmlformats.org/officeDocument/2006/relationships/tags" Target="../tags/tag75.xml"/><Relationship Id="rId16" Type="http://schemas.openxmlformats.org/officeDocument/2006/relationships/tags" Target="../tags/tag89.xml"/><Relationship Id="rId29" Type="http://schemas.openxmlformats.org/officeDocument/2006/relationships/tags" Target="../tags/tag102.xml"/><Relationship Id="rId11" Type="http://schemas.openxmlformats.org/officeDocument/2006/relationships/tags" Target="../tags/tag84.xml"/><Relationship Id="rId24" Type="http://schemas.openxmlformats.org/officeDocument/2006/relationships/tags" Target="../tags/tag97.xml"/><Relationship Id="rId32" Type="http://schemas.openxmlformats.org/officeDocument/2006/relationships/tags" Target="../tags/tag105.xml"/><Relationship Id="rId37" Type="http://schemas.openxmlformats.org/officeDocument/2006/relationships/tags" Target="../tags/tag110.xml"/><Relationship Id="rId40" Type="http://schemas.openxmlformats.org/officeDocument/2006/relationships/tags" Target="../tags/tag113.xml"/><Relationship Id="rId45" Type="http://schemas.openxmlformats.org/officeDocument/2006/relationships/tags" Target="../tags/tag118.xml"/><Relationship Id="rId53" Type="http://schemas.openxmlformats.org/officeDocument/2006/relationships/notesSlide" Target="../notesSlides/notesSlide4.xml"/><Relationship Id="rId58" Type="http://schemas.openxmlformats.org/officeDocument/2006/relationships/image" Target="../media/image36.emf"/><Relationship Id="rId5" Type="http://schemas.openxmlformats.org/officeDocument/2006/relationships/tags" Target="../tags/tag78.xml"/><Relationship Id="rId19" Type="http://schemas.openxmlformats.org/officeDocument/2006/relationships/tags" Target="../tags/tag92.xml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openxmlformats.org/officeDocument/2006/relationships/tags" Target="../tags/tag87.xml"/><Relationship Id="rId22" Type="http://schemas.openxmlformats.org/officeDocument/2006/relationships/tags" Target="../tags/tag95.xml"/><Relationship Id="rId27" Type="http://schemas.openxmlformats.org/officeDocument/2006/relationships/tags" Target="../tags/tag100.xml"/><Relationship Id="rId30" Type="http://schemas.openxmlformats.org/officeDocument/2006/relationships/tags" Target="../tags/tag103.xml"/><Relationship Id="rId35" Type="http://schemas.openxmlformats.org/officeDocument/2006/relationships/tags" Target="../tags/tag108.xml"/><Relationship Id="rId43" Type="http://schemas.openxmlformats.org/officeDocument/2006/relationships/tags" Target="../tags/tag116.xml"/><Relationship Id="rId48" Type="http://schemas.openxmlformats.org/officeDocument/2006/relationships/tags" Target="../tags/tag121.xml"/><Relationship Id="rId56" Type="http://schemas.openxmlformats.org/officeDocument/2006/relationships/image" Target="../media/image2.emf"/><Relationship Id="rId8" Type="http://schemas.openxmlformats.org/officeDocument/2006/relationships/tags" Target="../tags/tag81.xml"/><Relationship Id="rId51" Type="http://schemas.openxmlformats.org/officeDocument/2006/relationships/tags" Target="../tags/tag124.xml"/><Relationship Id="rId3" Type="http://schemas.openxmlformats.org/officeDocument/2006/relationships/tags" Target="../tags/tag76.xml"/><Relationship Id="rId12" Type="http://schemas.openxmlformats.org/officeDocument/2006/relationships/tags" Target="../tags/tag85.xml"/><Relationship Id="rId17" Type="http://schemas.openxmlformats.org/officeDocument/2006/relationships/tags" Target="../tags/tag90.xml"/><Relationship Id="rId25" Type="http://schemas.openxmlformats.org/officeDocument/2006/relationships/tags" Target="../tags/tag98.xml"/><Relationship Id="rId33" Type="http://schemas.openxmlformats.org/officeDocument/2006/relationships/tags" Target="../tags/tag106.xml"/><Relationship Id="rId38" Type="http://schemas.openxmlformats.org/officeDocument/2006/relationships/tags" Target="../tags/tag111.xml"/><Relationship Id="rId46" Type="http://schemas.openxmlformats.org/officeDocument/2006/relationships/tags" Target="../tags/tag119.xml"/><Relationship Id="rId59" Type="http://schemas.openxmlformats.org/officeDocument/2006/relationships/image" Target="../media/image37.emf"/><Relationship Id="rId20" Type="http://schemas.openxmlformats.org/officeDocument/2006/relationships/tags" Target="../tags/tag93.xml"/><Relationship Id="rId41" Type="http://schemas.openxmlformats.org/officeDocument/2006/relationships/tags" Target="../tags/tag114.xml"/><Relationship Id="rId54" Type="http://schemas.openxmlformats.org/officeDocument/2006/relationships/image" Target="../media/image34.jpeg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5" Type="http://schemas.openxmlformats.org/officeDocument/2006/relationships/tags" Target="../tags/tag88.xml"/><Relationship Id="rId23" Type="http://schemas.openxmlformats.org/officeDocument/2006/relationships/tags" Target="../tags/tag96.xml"/><Relationship Id="rId28" Type="http://schemas.openxmlformats.org/officeDocument/2006/relationships/tags" Target="../tags/tag101.xml"/><Relationship Id="rId36" Type="http://schemas.openxmlformats.org/officeDocument/2006/relationships/tags" Target="../tags/tag109.xml"/><Relationship Id="rId49" Type="http://schemas.openxmlformats.org/officeDocument/2006/relationships/tags" Target="../tags/tag122.xml"/><Relationship Id="rId57" Type="http://schemas.openxmlformats.org/officeDocument/2006/relationships/image" Target="../media/image35.emf"/><Relationship Id="rId10" Type="http://schemas.openxmlformats.org/officeDocument/2006/relationships/tags" Target="../tags/tag83.xml"/><Relationship Id="rId31" Type="http://schemas.openxmlformats.org/officeDocument/2006/relationships/tags" Target="../tags/tag104.xml"/><Relationship Id="rId44" Type="http://schemas.openxmlformats.org/officeDocument/2006/relationships/tags" Target="../tags/tag117.xml"/><Relationship Id="rId52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slideLayout" Target="../slideLayouts/slideLayout5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image" Target="../media/image2.emf"/><Relationship Id="rId2" Type="http://schemas.openxmlformats.org/officeDocument/2006/relationships/tags" Target="../tags/tag129.xml"/><Relationship Id="rId16" Type="http://schemas.openxmlformats.org/officeDocument/2006/relationships/oleObject" Target="../embeddings/oleObject9.bin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5" Type="http://schemas.openxmlformats.org/officeDocument/2006/relationships/image" Target="../media/image38.jpeg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145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39.png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11" Type="http://schemas.openxmlformats.org/officeDocument/2006/relationships/image" Target="../media/image10.jpeg"/><Relationship Id="rId5" Type="http://schemas.openxmlformats.org/officeDocument/2006/relationships/tags" Target="../tags/tag147.xml"/><Relationship Id="rId10" Type="http://schemas.openxmlformats.org/officeDocument/2006/relationships/image" Target="../media/image1.emf"/><Relationship Id="rId4" Type="http://schemas.openxmlformats.org/officeDocument/2006/relationships/tags" Target="../tags/tag146.xml"/><Relationship Id="rId9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" name="btfpColumnIndicatorGroup2">
            <a:extLst>
              <a:ext uri="{FF2B5EF4-FFF2-40B4-BE49-F238E27FC236}">
                <a16:creationId xmlns:a16="http://schemas.microsoft.com/office/drawing/2014/main" id="{C6CD6333-5E1E-5B62-3DB4-6C57887BD58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55" name="btfpColumnGapBlocker580129">
              <a:extLst>
                <a:ext uri="{FF2B5EF4-FFF2-40B4-BE49-F238E27FC236}">
                  <a16:creationId xmlns:a16="http://schemas.microsoft.com/office/drawing/2014/main" id="{4650AE2A-E424-D48B-1D19-454DECB1CDF4}"/>
                </a:ext>
              </a:extLst>
            </p:cNvPr>
            <p:cNvSpPr/>
            <p:nvPr/>
          </p:nvSpPr>
          <p:spPr bwMode="gray">
            <a:xfrm>
              <a:off x="11861801" y="6926580"/>
              <a:ext cx="330199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sp>
          <p:nvSpPr>
            <p:cNvPr id="53" name="btfpColumnGapBlocker460846">
              <a:extLst>
                <a:ext uri="{FF2B5EF4-FFF2-40B4-BE49-F238E27FC236}">
                  <a16:creationId xmlns:a16="http://schemas.microsoft.com/office/drawing/2014/main" id="{4729C594-89AE-3514-62D5-ED3652644ADC}"/>
                </a:ext>
              </a:extLst>
            </p:cNvPr>
            <p:cNvSpPr/>
            <p:nvPr/>
          </p:nvSpPr>
          <p:spPr bwMode="gray">
            <a:xfrm>
              <a:off x="10138229" y="6926580"/>
              <a:ext cx="5334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51" name="btfpColumnIndicator636083">
              <a:extLst>
                <a:ext uri="{FF2B5EF4-FFF2-40B4-BE49-F238E27FC236}">
                  <a16:creationId xmlns:a16="http://schemas.microsoft.com/office/drawing/2014/main" id="{BF3832A9-895B-9AEA-E139-34288F210F39}"/>
                </a:ext>
              </a:extLst>
            </p:cNvPr>
            <p:cNvCxnSpPr/>
            <p:nvPr/>
          </p:nvCxnSpPr>
          <p:spPr bwMode="gray">
            <a:xfrm flipV="1">
              <a:off x="11861801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btfpColumnIndicator945071">
              <a:extLst>
                <a:ext uri="{FF2B5EF4-FFF2-40B4-BE49-F238E27FC236}">
                  <a16:creationId xmlns:a16="http://schemas.microsoft.com/office/drawing/2014/main" id="{0AD67DD5-0EAA-714B-3D23-6B5C56DD8951}"/>
                </a:ext>
              </a:extLst>
            </p:cNvPr>
            <p:cNvCxnSpPr/>
            <p:nvPr/>
          </p:nvCxnSpPr>
          <p:spPr bwMode="gray">
            <a:xfrm flipV="1">
              <a:off x="10671629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btfpColumnGapBlocker241468">
              <a:extLst>
                <a:ext uri="{FF2B5EF4-FFF2-40B4-BE49-F238E27FC236}">
                  <a16:creationId xmlns:a16="http://schemas.microsoft.com/office/drawing/2014/main" id="{40D2D7C8-B20E-5A7A-14DF-8F7FBF44FE7E}"/>
                </a:ext>
              </a:extLst>
            </p:cNvPr>
            <p:cNvSpPr/>
            <p:nvPr/>
          </p:nvSpPr>
          <p:spPr bwMode="gray">
            <a:xfrm>
              <a:off x="8414658" y="6926580"/>
              <a:ext cx="5334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45" name="btfpColumnIndicator990840">
              <a:extLst>
                <a:ext uri="{FF2B5EF4-FFF2-40B4-BE49-F238E27FC236}">
                  <a16:creationId xmlns:a16="http://schemas.microsoft.com/office/drawing/2014/main" id="{BF55E810-7772-B577-0B12-FCE86B3A9E85}"/>
                </a:ext>
              </a:extLst>
            </p:cNvPr>
            <p:cNvCxnSpPr/>
            <p:nvPr/>
          </p:nvCxnSpPr>
          <p:spPr bwMode="gray">
            <a:xfrm flipV="1">
              <a:off x="10138229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btfpColumnIndicator394076">
              <a:extLst>
                <a:ext uri="{FF2B5EF4-FFF2-40B4-BE49-F238E27FC236}">
                  <a16:creationId xmlns:a16="http://schemas.microsoft.com/office/drawing/2014/main" id="{FE25CCBC-4925-B0FA-3D99-36499127A98E}"/>
                </a:ext>
              </a:extLst>
            </p:cNvPr>
            <p:cNvCxnSpPr/>
            <p:nvPr/>
          </p:nvCxnSpPr>
          <p:spPr bwMode="gray">
            <a:xfrm flipV="1">
              <a:off x="8948058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btfpColumnGapBlocker439529">
              <a:extLst>
                <a:ext uri="{FF2B5EF4-FFF2-40B4-BE49-F238E27FC236}">
                  <a16:creationId xmlns:a16="http://schemas.microsoft.com/office/drawing/2014/main" id="{5D0B26FD-F351-51D0-25C8-47615AAF3C25}"/>
                </a:ext>
              </a:extLst>
            </p:cNvPr>
            <p:cNvSpPr/>
            <p:nvPr/>
          </p:nvSpPr>
          <p:spPr bwMode="gray">
            <a:xfrm>
              <a:off x="6691086" y="6926580"/>
              <a:ext cx="5334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39" name="btfpColumnIndicator590687">
              <a:extLst>
                <a:ext uri="{FF2B5EF4-FFF2-40B4-BE49-F238E27FC236}">
                  <a16:creationId xmlns:a16="http://schemas.microsoft.com/office/drawing/2014/main" id="{4DA91CD8-6830-AB68-B5AF-A54B4889BE2B}"/>
                </a:ext>
              </a:extLst>
            </p:cNvPr>
            <p:cNvCxnSpPr/>
            <p:nvPr/>
          </p:nvCxnSpPr>
          <p:spPr bwMode="gray">
            <a:xfrm flipV="1">
              <a:off x="8414658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btfpColumnIndicator883443">
              <a:extLst>
                <a:ext uri="{FF2B5EF4-FFF2-40B4-BE49-F238E27FC236}">
                  <a16:creationId xmlns:a16="http://schemas.microsoft.com/office/drawing/2014/main" id="{6F4222B7-AAEF-7388-6478-0B5A103A719A}"/>
                </a:ext>
              </a:extLst>
            </p:cNvPr>
            <p:cNvCxnSpPr/>
            <p:nvPr/>
          </p:nvCxnSpPr>
          <p:spPr bwMode="gray">
            <a:xfrm flipV="1">
              <a:off x="7224486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btfpColumnGapBlocker910764">
              <a:extLst>
                <a:ext uri="{FF2B5EF4-FFF2-40B4-BE49-F238E27FC236}">
                  <a16:creationId xmlns:a16="http://schemas.microsoft.com/office/drawing/2014/main" id="{3A63FE09-84CB-DC03-95E0-A7D318E10228}"/>
                </a:ext>
              </a:extLst>
            </p:cNvPr>
            <p:cNvSpPr/>
            <p:nvPr/>
          </p:nvSpPr>
          <p:spPr bwMode="gray">
            <a:xfrm>
              <a:off x="4967515" y="6926580"/>
              <a:ext cx="5334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33" name="btfpColumnIndicator578429">
              <a:extLst>
                <a:ext uri="{FF2B5EF4-FFF2-40B4-BE49-F238E27FC236}">
                  <a16:creationId xmlns:a16="http://schemas.microsoft.com/office/drawing/2014/main" id="{32808D2A-9558-1380-C139-E60F87C7382F}"/>
                </a:ext>
              </a:extLst>
            </p:cNvPr>
            <p:cNvCxnSpPr/>
            <p:nvPr/>
          </p:nvCxnSpPr>
          <p:spPr bwMode="gray">
            <a:xfrm flipV="1">
              <a:off x="6691086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btfpColumnIndicator589182">
              <a:extLst>
                <a:ext uri="{FF2B5EF4-FFF2-40B4-BE49-F238E27FC236}">
                  <a16:creationId xmlns:a16="http://schemas.microsoft.com/office/drawing/2014/main" id="{568F6A92-6BC6-8651-5B3B-5BABEEC5EB91}"/>
                </a:ext>
              </a:extLst>
            </p:cNvPr>
            <p:cNvCxnSpPr/>
            <p:nvPr/>
          </p:nvCxnSpPr>
          <p:spPr bwMode="gray">
            <a:xfrm flipV="1">
              <a:off x="5500915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btfpColumnGapBlocker783755">
              <a:extLst>
                <a:ext uri="{FF2B5EF4-FFF2-40B4-BE49-F238E27FC236}">
                  <a16:creationId xmlns:a16="http://schemas.microsoft.com/office/drawing/2014/main" id="{451BEE7B-62AA-A4BE-021C-98B870D558F2}"/>
                </a:ext>
              </a:extLst>
            </p:cNvPr>
            <p:cNvSpPr/>
            <p:nvPr/>
          </p:nvSpPr>
          <p:spPr bwMode="gray">
            <a:xfrm>
              <a:off x="3243943" y="6926580"/>
              <a:ext cx="5334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27" name="btfpColumnIndicator584003">
              <a:extLst>
                <a:ext uri="{FF2B5EF4-FFF2-40B4-BE49-F238E27FC236}">
                  <a16:creationId xmlns:a16="http://schemas.microsoft.com/office/drawing/2014/main" id="{F01F3D55-06CE-4E95-7BDF-F6E1C74104F3}"/>
                </a:ext>
              </a:extLst>
            </p:cNvPr>
            <p:cNvCxnSpPr/>
            <p:nvPr/>
          </p:nvCxnSpPr>
          <p:spPr bwMode="gray">
            <a:xfrm flipV="1">
              <a:off x="4967515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btfpColumnIndicator223360">
              <a:extLst>
                <a:ext uri="{FF2B5EF4-FFF2-40B4-BE49-F238E27FC236}">
                  <a16:creationId xmlns:a16="http://schemas.microsoft.com/office/drawing/2014/main" id="{4BE397A6-6BCE-83F1-FE35-71C088EF190D}"/>
                </a:ext>
              </a:extLst>
            </p:cNvPr>
            <p:cNvCxnSpPr/>
            <p:nvPr/>
          </p:nvCxnSpPr>
          <p:spPr bwMode="gray">
            <a:xfrm flipV="1">
              <a:off x="3777343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btfpColumnGapBlocker141351">
              <a:extLst>
                <a:ext uri="{FF2B5EF4-FFF2-40B4-BE49-F238E27FC236}">
                  <a16:creationId xmlns:a16="http://schemas.microsoft.com/office/drawing/2014/main" id="{9D281AB1-A374-DD77-1179-889EA8FED3D5}"/>
                </a:ext>
              </a:extLst>
            </p:cNvPr>
            <p:cNvSpPr/>
            <p:nvPr/>
          </p:nvSpPr>
          <p:spPr bwMode="gray">
            <a:xfrm>
              <a:off x="1520371" y="6926580"/>
              <a:ext cx="533401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20" name="btfpColumnIndicator376270">
              <a:extLst>
                <a:ext uri="{FF2B5EF4-FFF2-40B4-BE49-F238E27FC236}">
                  <a16:creationId xmlns:a16="http://schemas.microsoft.com/office/drawing/2014/main" id="{F3F6E07F-233E-B8D7-171C-97B6B22BDFF0}"/>
                </a:ext>
              </a:extLst>
            </p:cNvPr>
            <p:cNvCxnSpPr/>
            <p:nvPr/>
          </p:nvCxnSpPr>
          <p:spPr bwMode="gray">
            <a:xfrm flipV="1">
              <a:off x="3243943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btfpColumnIndicator921509">
              <a:extLst>
                <a:ext uri="{FF2B5EF4-FFF2-40B4-BE49-F238E27FC236}">
                  <a16:creationId xmlns:a16="http://schemas.microsoft.com/office/drawing/2014/main" id="{D19E5A6B-CFF2-2C56-7E77-7FE0D991356F}"/>
                </a:ext>
              </a:extLst>
            </p:cNvPr>
            <p:cNvCxnSpPr/>
            <p:nvPr/>
          </p:nvCxnSpPr>
          <p:spPr bwMode="gray">
            <a:xfrm flipV="1">
              <a:off x="2053772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btfpColumnGapBlocker962161">
              <a:extLst>
                <a:ext uri="{FF2B5EF4-FFF2-40B4-BE49-F238E27FC236}">
                  <a16:creationId xmlns:a16="http://schemas.microsoft.com/office/drawing/2014/main" id="{EF85CD22-48DA-E968-B540-7F791E0D9C92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14" name="btfpColumnIndicator801324">
              <a:extLst>
                <a:ext uri="{FF2B5EF4-FFF2-40B4-BE49-F238E27FC236}">
                  <a16:creationId xmlns:a16="http://schemas.microsoft.com/office/drawing/2014/main" id="{90D801E1-CDBA-0E10-A9D1-0A0C54A4AC5A}"/>
                </a:ext>
              </a:extLst>
            </p:cNvPr>
            <p:cNvCxnSpPr/>
            <p:nvPr/>
          </p:nvCxnSpPr>
          <p:spPr bwMode="gray">
            <a:xfrm flipV="1">
              <a:off x="1520371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186476">
              <a:extLst>
                <a:ext uri="{FF2B5EF4-FFF2-40B4-BE49-F238E27FC236}">
                  <a16:creationId xmlns:a16="http://schemas.microsoft.com/office/drawing/2014/main" id="{C40312E7-F26C-467D-AB68-33B890ABB449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btfpColumnIndicatorGroup1">
            <a:extLst>
              <a:ext uri="{FF2B5EF4-FFF2-40B4-BE49-F238E27FC236}">
                <a16:creationId xmlns:a16="http://schemas.microsoft.com/office/drawing/2014/main" id="{0571871C-365D-70A0-D5FB-9808A0ACD1A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54" name="btfpColumnGapBlocker807713">
              <a:extLst>
                <a:ext uri="{FF2B5EF4-FFF2-40B4-BE49-F238E27FC236}">
                  <a16:creationId xmlns:a16="http://schemas.microsoft.com/office/drawing/2014/main" id="{41C9F11B-6C20-B552-4372-367A88D23BB9}"/>
                </a:ext>
              </a:extLst>
            </p:cNvPr>
            <p:cNvSpPr/>
            <p:nvPr/>
          </p:nvSpPr>
          <p:spPr bwMode="gray">
            <a:xfrm>
              <a:off x="11861801" y="-205740"/>
              <a:ext cx="330199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sp>
          <p:nvSpPr>
            <p:cNvPr id="52" name="btfpColumnGapBlocker879302">
              <a:extLst>
                <a:ext uri="{FF2B5EF4-FFF2-40B4-BE49-F238E27FC236}">
                  <a16:creationId xmlns:a16="http://schemas.microsoft.com/office/drawing/2014/main" id="{098A92DF-52D1-D5CE-6BBD-3A6D5CEC4B82}"/>
                </a:ext>
              </a:extLst>
            </p:cNvPr>
            <p:cNvSpPr/>
            <p:nvPr/>
          </p:nvSpPr>
          <p:spPr bwMode="gray">
            <a:xfrm>
              <a:off x="10138229" y="-205740"/>
              <a:ext cx="5334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50" name="btfpColumnIndicator171872">
              <a:extLst>
                <a:ext uri="{FF2B5EF4-FFF2-40B4-BE49-F238E27FC236}">
                  <a16:creationId xmlns:a16="http://schemas.microsoft.com/office/drawing/2014/main" id="{50C60E88-9C41-0B9C-6E96-3032BCF91264}"/>
                </a:ext>
              </a:extLst>
            </p:cNvPr>
            <p:cNvCxnSpPr/>
            <p:nvPr/>
          </p:nvCxnSpPr>
          <p:spPr bwMode="gray">
            <a:xfrm flipV="1">
              <a:off x="11861801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btfpColumnIndicator942651">
              <a:extLst>
                <a:ext uri="{FF2B5EF4-FFF2-40B4-BE49-F238E27FC236}">
                  <a16:creationId xmlns:a16="http://schemas.microsoft.com/office/drawing/2014/main" id="{9753CD36-C0C6-E485-5541-37BA3DCDBB5D}"/>
                </a:ext>
              </a:extLst>
            </p:cNvPr>
            <p:cNvCxnSpPr/>
            <p:nvPr/>
          </p:nvCxnSpPr>
          <p:spPr bwMode="gray">
            <a:xfrm flipV="1">
              <a:off x="10671629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btfpColumnGapBlocker612762">
              <a:extLst>
                <a:ext uri="{FF2B5EF4-FFF2-40B4-BE49-F238E27FC236}">
                  <a16:creationId xmlns:a16="http://schemas.microsoft.com/office/drawing/2014/main" id="{776D3BAA-CCBF-95A8-BE8E-B4B19E6B4814}"/>
                </a:ext>
              </a:extLst>
            </p:cNvPr>
            <p:cNvSpPr/>
            <p:nvPr/>
          </p:nvSpPr>
          <p:spPr bwMode="gray">
            <a:xfrm>
              <a:off x="8414658" y="-205740"/>
              <a:ext cx="5334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44" name="btfpColumnIndicator984870">
              <a:extLst>
                <a:ext uri="{FF2B5EF4-FFF2-40B4-BE49-F238E27FC236}">
                  <a16:creationId xmlns:a16="http://schemas.microsoft.com/office/drawing/2014/main" id="{34B2193C-C6E8-952B-9826-5E17811B5ECD}"/>
                </a:ext>
              </a:extLst>
            </p:cNvPr>
            <p:cNvCxnSpPr/>
            <p:nvPr/>
          </p:nvCxnSpPr>
          <p:spPr bwMode="gray">
            <a:xfrm flipV="1">
              <a:off x="10138229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btfpColumnIndicator538087">
              <a:extLst>
                <a:ext uri="{FF2B5EF4-FFF2-40B4-BE49-F238E27FC236}">
                  <a16:creationId xmlns:a16="http://schemas.microsoft.com/office/drawing/2014/main" id="{4C04479B-832C-9234-3BDF-7B66D88ED3A8}"/>
                </a:ext>
              </a:extLst>
            </p:cNvPr>
            <p:cNvCxnSpPr/>
            <p:nvPr/>
          </p:nvCxnSpPr>
          <p:spPr bwMode="gray">
            <a:xfrm flipV="1">
              <a:off x="8948058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btfpColumnGapBlocker773465">
              <a:extLst>
                <a:ext uri="{FF2B5EF4-FFF2-40B4-BE49-F238E27FC236}">
                  <a16:creationId xmlns:a16="http://schemas.microsoft.com/office/drawing/2014/main" id="{8EFF3CC8-1053-10B0-0898-4DEF56FC9080}"/>
                </a:ext>
              </a:extLst>
            </p:cNvPr>
            <p:cNvSpPr/>
            <p:nvPr/>
          </p:nvSpPr>
          <p:spPr bwMode="gray">
            <a:xfrm>
              <a:off x="6691086" y="-205740"/>
              <a:ext cx="5334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38" name="btfpColumnIndicator691241">
              <a:extLst>
                <a:ext uri="{FF2B5EF4-FFF2-40B4-BE49-F238E27FC236}">
                  <a16:creationId xmlns:a16="http://schemas.microsoft.com/office/drawing/2014/main" id="{4822A0BC-1A7D-0978-983A-0B07732A5DE3}"/>
                </a:ext>
              </a:extLst>
            </p:cNvPr>
            <p:cNvCxnSpPr/>
            <p:nvPr/>
          </p:nvCxnSpPr>
          <p:spPr bwMode="gray">
            <a:xfrm flipV="1">
              <a:off x="8414658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btfpColumnIndicator411093">
              <a:extLst>
                <a:ext uri="{FF2B5EF4-FFF2-40B4-BE49-F238E27FC236}">
                  <a16:creationId xmlns:a16="http://schemas.microsoft.com/office/drawing/2014/main" id="{0178E8D3-480E-A94D-AD09-2C0829532364}"/>
                </a:ext>
              </a:extLst>
            </p:cNvPr>
            <p:cNvCxnSpPr/>
            <p:nvPr/>
          </p:nvCxnSpPr>
          <p:spPr bwMode="gray">
            <a:xfrm flipV="1">
              <a:off x="7224486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btfpColumnGapBlocker691172">
              <a:extLst>
                <a:ext uri="{FF2B5EF4-FFF2-40B4-BE49-F238E27FC236}">
                  <a16:creationId xmlns:a16="http://schemas.microsoft.com/office/drawing/2014/main" id="{B4127CB9-4C2B-C896-AD87-5D3D1290BA0F}"/>
                </a:ext>
              </a:extLst>
            </p:cNvPr>
            <p:cNvSpPr/>
            <p:nvPr/>
          </p:nvSpPr>
          <p:spPr bwMode="gray">
            <a:xfrm>
              <a:off x="4967515" y="-205740"/>
              <a:ext cx="5334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32" name="btfpColumnIndicator475003">
              <a:extLst>
                <a:ext uri="{FF2B5EF4-FFF2-40B4-BE49-F238E27FC236}">
                  <a16:creationId xmlns:a16="http://schemas.microsoft.com/office/drawing/2014/main" id="{19C56230-406A-C116-63EA-D68FF154C5E7}"/>
                </a:ext>
              </a:extLst>
            </p:cNvPr>
            <p:cNvCxnSpPr/>
            <p:nvPr/>
          </p:nvCxnSpPr>
          <p:spPr bwMode="gray">
            <a:xfrm flipV="1">
              <a:off x="6691086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btfpColumnIndicator386334">
              <a:extLst>
                <a:ext uri="{FF2B5EF4-FFF2-40B4-BE49-F238E27FC236}">
                  <a16:creationId xmlns:a16="http://schemas.microsoft.com/office/drawing/2014/main" id="{FB75E981-84A4-D9A8-25F0-B9278B3FECA7}"/>
                </a:ext>
              </a:extLst>
            </p:cNvPr>
            <p:cNvCxnSpPr/>
            <p:nvPr/>
          </p:nvCxnSpPr>
          <p:spPr bwMode="gray">
            <a:xfrm flipV="1">
              <a:off x="5500915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btfpColumnGapBlocker301442">
              <a:extLst>
                <a:ext uri="{FF2B5EF4-FFF2-40B4-BE49-F238E27FC236}">
                  <a16:creationId xmlns:a16="http://schemas.microsoft.com/office/drawing/2014/main" id="{1F050FBC-E7FB-570C-80AD-905C441871D7}"/>
                </a:ext>
              </a:extLst>
            </p:cNvPr>
            <p:cNvSpPr/>
            <p:nvPr/>
          </p:nvSpPr>
          <p:spPr bwMode="gray">
            <a:xfrm>
              <a:off x="3243943" y="-205740"/>
              <a:ext cx="5334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26" name="btfpColumnIndicator924895">
              <a:extLst>
                <a:ext uri="{FF2B5EF4-FFF2-40B4-BE49-F238E27FC236}">
                  <a16:creationId xmlns:a16="http://schemas.microsoft.com/office/drawing/2014/main" id="{EDDCE054-53FA-18D7-90FF-C1B7A4D6ACB9}"/>
                </a:ext>
              </a:extLst>
            </p:cNvPr>
            <p:cNvCxnSpPr/>
            <p:nvPr/>
          </p:nvCxnSpPr>
          <p:spPr bwMode="gray">
            <a:xfrm flipV="1">
              <a:off x="4967515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btfpColumnIndicator684139">
              <a:extLst>
                <a:ext uri="{FF2B5EF4-FFF2-40B4-BE49-F238E27FC236}">
                  <a16:creationId xmlns:a16="http://schemas.microsoft.com/office/drawing/2014/main" id="{4F118DB0-29F5-6DE9-70B9-133E0AD67D62}"/>
                </a:ext>
              </a:extLst>
            </p:cNvPr>
            <p:cNvCxnSpPr/>
            <p:nvPr/>
          </p:nvCxnSpPr>
          <p:spPr bwMode="gray">
            <a:xfrm flipV="1">
              <a:off x="3777343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btfpColumnGapBlocker313306">
              <a:extLst>
                <a:ext uri="{FF2B5EF4-FFF2-40B4-BE49-F238E27FC236}">
                  <a16:creationId xmlns:a16="http://schemas.microsoft.com/office/drawing/2014/main" id="{212A18BA-C1E0-1B0F-132D-FB52EDC0625D}"/>
                </a:ext>
              </a:extLst>
            </p:cNvPr>
            <p:cNvSpPr/>
            <p:nvPr/>
          </p:nvSpPr>
          <p:spPr bwMode="gray">
            <a:xfrm>
              <a:off x="1520371" y="-205740"/>
              <a:ext cx="533401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19" name="btfpColumnIndicator868676">
              <a:extLst>
                <a:ext uri="{FF2B5EF4-FFF2-40B4-BE49-F238E27FC236}">
                  <a16:creationId xmlns:a16="http://schemas.microsoft.com/office/drawing/2014/main" id="{750DDC40-F302-BEEA-C4BA-A55375E82D91}"/>
                </a:ext>
              </a:extLst>
            </p:cNvPr>
            <p:cNvCxnSpPr/>
            <p:nvPr/>
          </p:nvCxnSpPr>
          <p:spPr bwMode="gray">
            <a:xfrm flipV="1">
              <a:off x="3243943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204613">
              <a:extLst>
                <a:ext uri="{FF2B5EF4-FFF2-40B4-BE49-F238E27FC236}">
                  <a16:creationId xmlns:a16="http://schemas.microsoft.com/office/drawing/2014/main" id="{DCF237AD-1CC6-BEBA-F8BD-2D0220C2C24C}"/>
                </a:ext>
              </a:extLst>
            </p:cNvPr>
            <p:cNvCxnSpPr/>
            <p:nvPr/>
          </p:nvCxnSpPr>
          <p:spPr bwMode="gray">
            <a:xfrm flipV="1">
              <a:off x="2053772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btfpColumnGapBlocker355430">
              <a:extLst>
                <a:ext uri="{FF2B5EF4-FFF2-40B4-BE49-F238E27FC236}">
                  <a16:creationId xmlns:a16="http://schemas.microsoft.com/office/drawing/2014/main" id="{DA50A798-C5EC-A765-863A-67C1F349B27E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13" name="btfpColumnIndicator785846">
              <a:extLst>
                <a:ext uri="{FF2B5EF4-FFF2-40B4-BE49-F238E27FC236}">
                  <a16:creationId xmlns:a16="http://schemas.microsoft.com/office/drawing/2014/main" id="{7EFB6C15-C5E7-F9DA-826F-CCD219CF7B5C}"/>
                </a:ext>
              </a:extLst>
            </p:cNvPr>
            <p:cNvCxnSpPr/>
            <p:nvPr/>
          </p:nvCxnSpPr>
          <p:spPr bwMode="gray">
            <a:xfrm flipV="1">
              <a:off x="1520371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961911">
              <a:extLst>
                <a:ext uri="{FF2B5EF4-FFF2-40B4-BE49-F238E27FC236}">
                  <a16:creationId xmlns:a16="http://schemas.microsoft.com/office/drawing/2014/main" id="{6C1BD1FF-6857-1415-4496-672972836E8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9B623090-7769-9BEA-DFBF-E6D6BFEF73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106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623090-7769-9BEA-DFBF-E6D6BFEF73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" name="Picture 110">
            <a:extLst>
              <a:ext uri="{FF2B5EF4-FFF2-40B4-BE49-F238E27FC236}">
                <a16:creationId xmlns:a16="http://schemas.microsoft.com/office/drawing/2014/main" id="{EA956766-9761-BDAC-7DD6-CA5976CCB2E0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04" b="8583"/>
          <a:stretch/>
        </p:blipFill>
        <p:spPr>
          <a:xfrm>
            <a:off x="2108200" y="0"/>
            <a:ext cx="10083799" cy="5495925"/>
          </a:xfrm>
          <a:prstGeom prst="rect">
            <a:avLst/>
          </a:prstGeom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CC2C8053-82C1-7EC0-6856-CFF22B77B684}"/>
              </a:ext>
            </a:extLst>
          </p:cNvPr>
          <p:cNvSpPr/>
          <p:nvPr/>
        </p:nvSpPr>
        <p:spPr>
          <a:xfrm>
            <a:off x="0" y="0"/>
            <a:ext cx="6201282" cy="6858000"/>
          </a:xfrm>
          <a:custGeom>
            <a:avLst/>
            <a:gdLst>
              <a:gd name="connsiteX0" fmla="*/ 0 w 4041874"/>
              <a:gd name="connsiteY0" fmla="*/ 0 h 4469909"/>
              <a:gd name="connsiteX1" fmla="*/ 0 w 4041874"/>
              <a:gd name="connsiteY1" fmla="*/ 4469910 h 4469909"/>
              <a:gd name="connsiteX2" fmla="*/ 4041874 w 4041874"/>
              <a:gd name="connsiteY2" fmla="*/ 4469910 h 4469909"/>
              <a:gd name="connsiteX3" fmla="*/ 1383396 w 4041874"/>
              <a:gd name="connsiteY3" fmla="*/ 0 h 4469909"/>
              <a:gd name="connsiteX4" fmla="*/ 0 w 4041874"/>
              <a:gd name="connsiteY4" fmla="*/ 0 h 4469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41874" h="4469909">
                <a:moveTo>
                  <a:pt x="0" y="0"/>
                </a:moveTo>
                <a:lnTo>
                  <a:pt x="0" y="4469910"/>
                </a:lnTo>
                <a:lnTo>
                  <a:pt x="4041874" y="4469910"/>
                </a:lnTo>
                <a:lnTo>
                  <a:pt x="138339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E00"/>
          </a:solidFill>
          <a:ln w="4138" cap="flat">
            <a:noFill/>
            <a:prstDash val="solid"/>
            <a:miter/>
          </a:ln>
        </p:spPr>
        <p:txBody>
          <a:bodyPr rtlCol="0" anchor="ctr"/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211E2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9EC8818-6A62-ECB5-FE6A-F09EA55349A5}"/>
              </a:ext>
            </a:extLst>
          </p:cNvPr>
          <p:cNvSpPr/>
          <p:nvPr/>
        </p:nvSpPr>
        <p:spPr>
          <a:xfrm>
            <a:off x="0" y="4280810"/>
            <a:ext cx="4272039" cy="2577190"/>
          </a:xfrm>
          <a:custGeom>
            <a:avLst/>
            <a:gdLst>
              <a:gd name="connsiteX0" fmla="*/ 639479 w 4272039"/>
              <a:gd name="connsiteY0" fmla="*/ 0 h 2577190"/>
              <a:gd name="connsiteX1" fmla="*/ 4190191 w 4272039"/>
              <a:gd name="connsiteY1" fmla="*/ 2353565 h 2577190"/>
              <a:gd name="connsiteX2" fmla="*/ 4272039 w 4272039"/>
              <a:gd name="connsiteY2" fmla="*/ 2577190 h 2577190"/>
              <a:gd name="connsiteX3" fmla="*/ 0 w 4272039"/>
              <a:gd name="connsiteY3" fmla="*/ 2577190 h 2577190"/>
              <a:gd name="connsiteX4" fmla="*/ 0 w 4272039"/>
              <a:gd name="connsiteY4" fmla="*/ 53798 h 2577190"/>
              <a:gd name="connsiteX5" fmla="*/ 52621 w 4272039"/>
              <a:gd name="connsiteY5" fmla="*/ 44401 h 2577190"/>
              <a:gd name="connsiteX6" fmla="*/ 639479 w 4272039"/>
              <a:gd name="connsiteY6" fmla="*/ 0 h 2577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2039" h="2577190">
                <a:moveTo>
                  <a:pt x="639479" y="0"/>
                </a:moveTo>
                <a:cubicBezTo>
                  <a:pt x="2235677" y="0"/>
                  <a:pt x="3605195" y="970469"/>
                  <a:pt x="4190191" y="2353565"/>
                </a:cubicBezTo>
                <a:lnTo>
                  <a:pt x="4272039" y="2577190"/>
                </a:lnTo>
                <a:lnTo>
                  <a:pt x="0" y="2577190"/>
                </a:lnTo>
                <a:lnTo>
                  <a:pt x="0" y="53798"/>
                </a:lnTo>
                <a:lnTo>
                  <a:pt x="52621" y="44401"/>
                </a:lnTo>
                <a:cubicBezTo>
                  <a:pt x="243972" y="15164"/>
                  <a:pt x="439955" y="0"/>
                  <a:pt x="639479" y="0"/>
                </a:cubicBezTo>
                <a:close/>
              </a:path>
            </a:pathLst>
          </a:custGeom>
          <a:solidFill>
            <a:srgbClr val="183EFF"/>
          </a:solidFill>
          <a:ln w="413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63CAC743-12E8-A612-0740-39D2A4888D7A}"/>
              </a:ext>
            </a:extLst>
          </p:cNvPr>
          <p:cNvSpPr txBox="1"/>
          <p:nvPr/>
        </p:nvSpPr>
        <p:spPr bwMode="gray">
          <a:xfrm>
            <a:off x="546101" y="5968258"/>
            <a:ext cx="2133599" cy="257369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io, 2026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DC3A480-E144-C6A1-2C99-70590D3955B3}"/>
              </a:ext>
            </a:extLst>
          </p:cNvPr>
          <p:cNvSpPr/>
          <p:nvPr/>
        </p:nvSpPr>
        <p:spPr bwMode="gray">
          <a:xfrm>
            <a:off x="5391188" y="5495925"/>
            <a:ext cx="6800812" cy="13620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41" name="Freeform: Shape 140">
            <a:extLst>
              <a:ext uri="{FF2B5EF4-FFF2-40B4-BE49-F238E27FC236}">
                <a16:creationId xmlns:a16="http://schemas.microsoft.com/office/drawing/2014/main" id="{85A30CFB-F6B9-FC96-CA29-8BF7FA8449D6}"/>
              </a:ext>
            </a:extLst>
          </p:cNvPr>
          <p:cNvSpPr/>
          <p:nvPr/>
        </p:nvSpPr>
        <p:spPr>
          <a:xfrm>
            <a:off x="5391188" y="5495925"/>
            <a:ext cx="810094" cy="1362075"/>
          </a:xfrm>
          <a:custGeom>
            <a:avLst/>
            <a:gdLst>
              <a:gd name="connsiteX0" fmla="*/ 0 w 704300"/>
              <a:gd name="connsiteY0" fmla="*/ 1184195 h 1184194"/>
              <a:gd name="connsiteX1" fmla="*/ 704300 w 704300"/>
              <a:gd name="connsiteY1" fmla="*/ 1184195 h 1184194"/>
              <a:gd name="connsiteX2" fmla="*/ 0 w 704300"/>
              <a:gd name="connsiteY2" fmla="*/ 0 h 1184194"/>
              <a:gd name="connsiteX3" fmla="*/ 0 w 704300"/>
              <a:gd name="connsiteY3" fmla="*/ 1184195 h 118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300" h="1184194">
                <a:moveTo>
                  <a:pt x="0" y="1184195"/>
                </a:moveTo>
                <a:lnTo>
                  <a:pt x="704300" y="1184195"/>
                </a:lnTo>
                <a:lnTo>
                  <a:pt x="0" y="0"/>
                </a:lnTo>
                <a:lnTo>
                  <a:pt x="0" y="1184195"/>
                </a:lnTo>
                <a:close/>
              </a:path>
            </a:pathLst>
          </a:custGeom>
          <a:solidFill>
            <a:srgbClr val="00CE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pic>
        <p:nvPicPr>
          <p:cNvPr id="6" name="Picture 5" descr="A black background with colorful letters&#10;&#10;Description automatically generated">
            <a:extLst>
              <a:ext uri="{FF2B5EF4-FFF2-40B4-BE49-F238E27FC236}">
                <a16:creationId xmlns:a16="http://schemas.microsoft.com/office/drawing/2014/main" id="{CFF47A96-978A-10DE-17BE-C866D697E3F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6847" y="5846490"/>
            <a:ext cx="1060191" cy="832172"/>
          </a:xfrm>
          <a:prstGeom prst="rect">
            <a:avLst/>
          </a:prstGeom>
        </p:spPr>
      </p:pic>
      <p:pic>
        <p:nvPicPr>
          <p:cNvPr id="8" name="Picture 7" descr="A colorful text on a black background&#10;&#10;Description automatically generated">
            <a:extLst>
              <a:ext uri="{FF2B5EF4-FFF2-40B4-BE49-F238E27FC236}">
                <a16:creationId xmlns:a16="http://schemas.microsoft.com/office/drawing/2014/main" id="{81DA7246-3B9A-30DE-BBB7-A84003E80FC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4269" y="5739635"/>
            <a:ext cx="1057016" cy="939027"/>
          </a:xfrm>
          <a:prstGeom prst="rect">
            <a:avLst/>
          </a:prstGeom>
        </p:spPr>
      </p:pic>
      <p:pic>
        <p:nvPicPr>
          <p:cNvPr id="58" name="Picture 57" descr="A logo with blue green yellow and blue text&#10;&#10;Description automatically generated">
            <a:extLst>
              <a:ext uri="{FF2B5EF4-FFF2-40B4-BE49-F238E27FC236}">
                <a16:creationId xmlns:a16="http://schemas.microsoft.com/office/drawing/2014/main" id="{B816DF49-50F3-42BB-B5D4-32C214FA8F28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122" y="65037"/>
            <a:ext cx="1647513" cy="926725"/>
          </a:xfrm>
          <a:prstGeom prst="rect">
            <a:avLst/>
          </a:prstGeom>
        </p:spPr>
      </p:pic>
      <p:sp>
        <p:nvSpPr>
          <p:cNvPr id="107" name="TextBox 106">
            <a:extLst>
              <a:ext uri="{FF2B5EF4-FFF2-40B4-BE49-F238E27FC236}">
                <a16:creationId xmlns:a16="http://schemas.microsoft.com/office/drawing/2014/main" id="{45CE3A1E-E699-48AC-810E-245504D9415B}"/>
              </a:ext>
            </a:extLst>
          </p:cNvPr>
          <p:cNvSpPr txBox="1"/>
          <p:nvPr/>
        </p:nvSpPr>
        <p:spPr bwMode="gray">
          <a:xfrm>
            <a:off x="265122" y="1234629"/>
            <a:ext cx="3222171" cy="219636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1500" b="1" dirty="0">
                <a:latin typeface="Arial" panose="020B0604020202020204" pitchFamily="34" charset="0"/>
                <a:cs typeface="Arial" panose="020B0604020202020204" pitchFamily="34" charset="0"/>
              </a:rPr>
              <a:t>BIP</a:t>
            </a:r>
            <a:endParaRPr kumimoji="0" lang="pt-BR" sz="2000" b="1" i="0" u="none" strike="noStrike" kern="1200" cap="none" spc="0" normalizeH="0" baseline="0" noProof="0" dirty="0">
              <a:ln>
                <a:noFill/>
              </a:ln>
              <a:solidFill>
                <a:srgbClr val="211E2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800" dirty="0">
                <a:solidFill>
                  <a:srgbClr val="21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canismos concessionais</a:t>
            </a:r>
            <a:endParaRPr kumimoji="0" lang="pt-BR" sz="1800" i="0" u="none" strike="noStrike" kern="1200" cap="none" spc="0" normalizeH="0" baseline="0" noProof="0" dirty="0">
              <a:ln>
                <a:noFill/>
              </a:ln>
              <a:solidFill>
                <a:srgbClr val="211E2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 descr="A logo with different colors on it&#10;&#10;Description automatically generated">
            <a:extLst>
              <a:ext uri="{FF2B5EF4-FFF2-40B4-BE49-F238E27FC236}">
                <a16:creationId xmlns:a16="http://schemas.microsoft.com/office/drawing/2014/main" id="{F5FA3459-5E15-2277-9FB0-75547843D94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52791" b="3511"/>
          <a:stretch>
            <a:fillRect/>
          </a:stretch>
        </p:blipFill>
        <p:spPr>
          <a:xfrm>
            <a:off x="10833408" y="5636978"/>
            <a:ext cx="890577" cy="419024"/>
          </a:xfrm>
          <a:prstGeom prst="rect">
            <a:avLst/>
          </a:prstGeom>
        </p:spPr>
      </p:pic>
      <p:pic>
        <p:nvPicPr>
          <p:cNvPr id="4" name="Picture 3" descr="A colorful logo on a black background&#10;&#10;Description automatically generated">
            <a:extLst>
              <a:ext uri="{FF2B5EF4-FFF2-40B4-BE49-F238E27FC236}">
                <a16:creationId xmlns:a16="http://schemas.microsoft.com/office/drawing/2014/main" id="{8F5B46DB-F647-560B-A5C4-24BCE6DE9D4D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45923" b="2401"/>
          <a:stretch>
            <a:fillRect/>
          </a:stretch>
        </p:blipFill>
        <p:spPr>
          <a:xfrm>
            <a:off x="7897010" y="5769164"/>
            <a:ext cx="1047286" cy="384937"/>
          </a:xfrm>
          <a:prstGeom prst="rect">
            <a:avLst/>
          </a:prstGeom>
        </p:spPr>
      </p:pic>
      <p:pic>
        <p:nvPicPr>
          <p:cNvPr id="5" name="Google Shape;437;p18" descr="MDIC indica a ABES para integrar o ...">
            <a:extLst>
              <a:ext uri="{FF2B5EF4-FFF2-40B4-BE49-F238E27FC236}">
                <a16:creationId xmlns:a16="http://schemas.microsoft.com/office/drawing/2014/main" id="{06EE867C-21AF-B00A-C71E-D2314AD71DA1}"/>
              </a:ext>
            </a:extLst>
          </p:cNvPr>
          <p:cNvPicPr preferRelativeResize="0"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alphaModFix/>
          </a:blip>
          <a:srcRect l="1964" t="4788" r="5547" b="7852"/>
          <a:stretch>
            <a:fillRect/>
          </a:stretch>
        </p:blipFill>
        <p:spPr>
          <a:xfrm>
            <a:off x="7957374" y="6210735"/>
            <a:ext cx="926560" cy="49009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4" descr="Ministério de Minas e Energia | Brasília DF">
            <a:extLst>
              <a:ext uri="{FF2B5EF4-FFF2-40B4-BE49-F238E27FC236}">
                <a16:creationId xmlns:a16="http://schemas.microsoft.com/office/drawing/2014/main" id="{1BDD26AF-B3E8-C59E-75D7-ED2F304BD04D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931704" y="6064839"/>
            <a:ext cx="693986" cy="690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6824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4000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697893-E7DA-FD3D-B196-22F697E78B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4039BFEE-07DA-5960-DD0F-4AD12F15F3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606" imgH="608" progId="TCLayout.ActiveDocument.1">
                  <p:embed/>
                </p:oleObj>
              </mc:Choice>
              <mc:Fallback>
                <p:oleObj name="think-cell Slide" r:id="rId19" imgW="606" imgH="608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39BFEE-07DA-5960-DD0F-4AD12F15F3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1" name="btfpColumnIndicatorGroup2">
            <a:extLst>
              <a:ext uri="{FF2B5EF4-FFF2-40B4-BE49-F238E27FC236}">
                <a16:creationId xmlns:a16="http://schemas.microsoft.com/office/drawing/2014/main" id="{49A433BA-0691-AB33-0019-3E3EBF37C91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29" name="btfpColumnGapBlocker586803">
              <a:extLst>
                <a:ext uri="{FF2B5EF4-FFF2-40B4-BE49-F238E27FC236}">
                  <a16:creationId xmlns:a16="http://schemas.microsoft.com/office/drawing/2014/main" id="{0FD6C815-7B1B-296A-D670-81322F1553DF}"/>
                </a:ext>
              </a:extLst>
            </p:cNvPr>
            <p:cNvSpPr/>
            <p:nvPr/>
          </p:nvSpPr>
          <p:spPr bwMode="gray">
            <a:xfrm>
              <a:off x="11861801" y="6926580"/>
              <a:ext cx="330199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sp>
          <p:nvSpPr>
            <p:cNvPr id="227" name="btfpColumnGapBlocker528841">
              <a:extLst>
                <a:ext uri="{FF2B5EF4-FFF2-40B4-BE49-F238E27FC236}">
                  <a16:creationId xmlns:a16="http://schemas.microsoft.com/office/drawing/2014/main" id="{CCDEEB52-31B0-2AB4-8AB4-274DCDCAA7C3}"/>
                </a:ext>
              </a:extLst>
            </p:cNvPr>
            <p:cNvSpPr/>
            <p:nvPr/>
          </p:nvSpPr>
          <p:spPr bwMode="gray">
            <a:xfrm>
              <a:off x="10138229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cxnSp>
          <p:nvCxnSpPr>
            <p:cNvPr id="225" name="btfpColumnIndicator214430">
              <a:extLst>
                <a:ext uri="{FF2B5EF4-FFF2-40B4-BE49-F238E27FC236}">
                  <a16:creationId xmlns:a16="http://schemas.microsoft.com/office/drawing/2014/main" id="{D1B7780B-0713-73E1-70F2-D1AB9BD0B9FE}"/>
                </a:ext>
              </a:extLst>
            </p:cNvPr>
            <p:cNvCxnSpPr/>
            <p:nvPr/>
          </p:nvCxnSpPr>
          <p:spPr bwMode="gray">
            <a:xfrm flipV="1">
              <a:off x="11861801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btfpColumnIndicator789929">
              <a:extLst>
                <a:ext uri="{FF2B5EF4-FFF2-40B4-BE49-F238E27FC236}">
                  <a16:creationId xmlns:a16="http://schemas.microsoft.com/office/drawing/2014/main" id="{D6EAFF73-025E-4DA8-5E47-6BA55E54D6AF}"/>
                </a:ext>
              </a:extLst>
            </p:cNvPr>
            <p:cNvCxnSpPr/>
            <p:nvPr/>
          </p:nvCxnSpPr>
          <p:spPr bwMode="gray">
            <a:xfrm flipV="1">
              <a:off x="10671629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1" name="btfpColumnGapBlocker825724">
              <a:extLst>
                <a:ext uri="{FF2B5EF4-FFF2-40B4-BE49-F238E27FC236}">
                  <a16:creationId xmlns:a16="http://schemas.microsoft.com/office/drawing/2014/main" id="{9DD7031E-78C4-9AFB-BC07-8B169F45CA9D}"/>
                </a:ext>
              </a:extLst>
            </p:cNvPr>
            <p:cNvSpPr/>
            <p:nvPr/>
          </p:nvSpPr>
          <p:spPr bwMode="gray">
            <a:xfrm>
              <a:off x="8414658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cxnSp>
          <p:nvCxnSpPr>
            <p:cNvPr id="219" name="btfpColumnIndicator356303">
              <a:extLst>
                <a:ext uri="{FF2B5EF4-FFF2-40B4-BE49-F238E27FC236}">
                  <a16:creationId xmlns:a16="http://schemas.microsoft.com/office/drawing/2014/main" id="{04CD3C4B-79C0-2AC1-9A59-C54CF35DBC98}"/>
                </a:ext>
              </a:extLst>
            </p:cNvPr>
            <p:cNvCxnSpPr/>
            <p:nvPr/>
          </p:nvCxnSpPr>
          <p:spPr bwMode="gray">
            <a:xfrm flipV="1">
              <a:off x="10138229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btfpColumnIndicator330099">
              <a:extLst>
                <a:ext uri="{FF2B5EF4-FFF2-40B4-BE49-F238E27FC236}">
                  <a16:creationId xmlns:a16="http://schemas.microsoft.com/office/drawing/2014/main" id="{83632F23-2B50-FAD3-EB4C-F275D0258952}"/>
                </a:ext>
              </a:extLst>
            </p:cNvPr>
            <p:cNvCxnSpPr/>
            <p:nvPr/>
          </p:nvCxnSpPr>
          <p:spPr bwMode="gray">
            <a:xfrm flipV="1">
              <a:off x="894805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btfpColumnGapBlocker280742">
              <a:extLst>
                <a:ext uri="{FF2B5EF4-FFF2-40B4-BE49-F238E27FC236}">
                  <a16:creationId xmlns:a16="http://schemas.microsoft.com/office/drawing/2014/main" id="{7F82F85B-F269-3BB7-EFCB-CF7DD5BB2D62}"/>
                </a:ext>
              </a:extLst>
            </p:cNvPr>
            <p:cNvSpPr/>
            <p:nvPr/>
          </p:nvSpPr>
          <p:spPr bwMode="gray">
            <a:xfrm>
              <a:off x="6691086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cxnSp>
          <p:nvCxnSpPr>
            <p:cNvPr id="213" name="btfpColumnIndicator258723">
              <a:extLst>
                <a:ext uri="{FF2B5EF4-FFF2-40B4-BE49-F238E27FC236}">
                  <a16:creationId xmlns:a16="http://schemas.microsoft.com/office/drawing/2014/main" id="{92F22D3F-600C-4CD4-CC2D-F9F5DF860B21}"/>
                </a:ext>
              </a:extLst>
            </p:cNvPr>
            <p:cNvCxnSpPr/>
            <p:nvPr/>
          </p:nvCxnSpPr>
          <p:spPr bwMode="gray">
            <a:xfrm flipV="1">
              <a:off x="841465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btfpColumnIndicator870804">
              <a:extLst>
                <a:ext uri="{FF2B5EF4-FFF2-40B4-BE49-F238E27FC236}">
                  <a16:creationId xmlns:a16="http://schemas.microsoft.com/office/drawing/2014/main" id="{B5E57C62-4352-E702-9348-03ED52853236}"/>
                </a:ext>
              </a:extLst>
            </p:cNvPr>
            <p:cNvCxnSpPr/>
            <p:nvPr/>
          </p:nvCxnSpPr>
          <p:spPr bwMode="gray">
            <a:xfrm flipV="1">
              <a:off x="722448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9" name="btfpColumnGapBlocker751501">
              <a:extLst>
                <a:ext uri="{FF2B5EF4-FFF2-40B4-BE49-F238E27FC236}">
                  <a16:creationId xmlns:a16="http://schemas.microsoft.com/office/drawing/2014/main" id="{4FB788F9-C453-F9FD-E129-A51A8C92A09A}"/>
                </a:ext>
              </a:extLst>
            </p:cNvPr>
            <p:cNvSpPr/>
            <p:nvPr/>
          </p:nvSpPr>
          <p:spPr bwMode="gray">
            <a:xfrm>
              <a:off x="4967515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cxnSp>
          <p:nvCxnSpPr>
            <p:cNvPr id="207" name="btfpColumnIndicator436873">
              <a:extLst>
                <a:ext uri="{FF2B5EF4-FFF2-40B4-BE49-F238E27FC236}">
                  <a16:creationId xmlns:a16="http://schemas.microsoft.com/office/drawing/2014/main" id="{C81A5D37-697B-BAF0-D684-2E848CFCF4B5}"/>
                </a:ext>
              </a:extLst>
            </p:cNvPr>
            <p:cNvCxnSpPr/>
            <p:nvPr/>
          </p:nvCxnSpPr>
          <p:spPr bwMode="gray">
            <a:xfrm flipV="1">
              <a:off x="669108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btfpColumnIndicator587387">
              <a:extLst>
                <a:ext uri="{FF2B5EF4-FFF2-40B4-BE49-F238E27FC236}">
                  <a16:creationId xmlns:a16="http://schemas.microsoft.com/office/drawing/2014/main" id="{A45AB435-A5E9-D6F6-B6CB-D5CC29B62364}"/>
                </a:ext>
              </a:extLst>
            </p:cNvPr>
            <p:cNvCxnSpPr/>
            <p:nvPr/>
          </p:nvCxnSpPr>
          <p:spPr bwMode="gray">
            <a:xfrm flipV="1">
              <a:off x="5500915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btfpColumnGapBlocker318407">
              <a:extLst>
                <a:ext uri="{FF2B5EF4-FFF2-40B4-BE49-F238E27FC236}">
                  <a16:creationId xmlns:a16="http://schemas.microsoft.com/office/drawing/2014/main" id="{F8AE4F23-4B4E-EC68-A6EB-A92D3B159CBB}"/>
                </a:ext>
              </a:extLst>
            </p:cNvPr>
            <p:cNvSpPr/>
            <p:nvPr/>
          </p:nvSpPr>
          <p:spPr bwMode="gray">
            <a:xfrm>
              <a:off x="3243943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cxnSp>
          <p:nvCxnSpPr>
            <p:cNvPr id="201" name="btfpColumnIndicator925099">
              <a:extLst>
                <a:ext uri="{FF2B5EF4-FFF2-40B4-BE49-F238E27FC236}">
                  <a16:creationId xmlns:a16="http://schemas.microsoft.com/office/drawing/2014/main" id="{7D1F3EF7-E171-B4B2-B8A8-9BB93252C236}"/>
                </a:ext>
              </a:extLst>
            </p:cNvPr>
            <p:cNvCxnSpPr/>
            <p:nvPr/>
          </p:nvCxnSpPr>
          <p:spPr bwMode="gray">
            <a:xfrm flipV="1">
              <a:off x="4967515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btfpColumnIndicator632535">
              <a:extLst>
                <a:ext uri="{FF2B5EF4-FFF2-40B4-BE49-F238E27FC236}">
                  <a16:creationId xmlns:a16="http://schemas.microsoft.com/office/drawing/2014/main" id="{610ABD6B-1E3C-70D6-73CF-C7B00F9005E9}"/>
                </a:ext>
              </a:extLst>
            </p:cNvPr>
            <p:cNvCxnSpPr/>
            <p:nvPr/>
          </p:nvCxnSpPr>
          <p:spPr bwMode="gray">
            <a:xfrm flipV="1">
              <a:off x="3777343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btfpColumnGapBlocker618344">
              <a:extLst>
                <a:ext uri="{FF2B5EF4-FFF2-40B4-BE49-F238E27FC236}">
                  <a16:creationId xmlns:a16="http://schemas.microsoft.com/office/drawing/2014/main" id="{20555312-05B6-6362-C3CD-FA1F597BE6CD}"/>
                </a:ext>
              </a:extLst>
            </p:cNvPr>
            <p:cNvSpPr/>
            <p:nvPr/>
          </p:nvSpPr>
          <p:spPr bwMode="gray">
            <a:xfrm>
              <a:off x="1520371" y="6926580"/>
              <a:ext cx="533401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cxnSp>
          <p:nvCxnSpPr>
            <p:cNvPr id="194" name="btfpColumnIndicator433315">
              <a:extLst>
                <a:ext uri="{FF2B5EF4-FFF2-40B4-BE49-F238E27FC236}">
                  <a16:creationId xmlns:a16="http://schemas.microsoft.com/office/drawing/2014/main" id="{455CB80E-3E54-9CB9-8F2E-4BD7AD911739}"/>
                </a:ext>
              </a:extLst>
            </p:cNvPr>
            <p:cNvCxnSpPr/>
            <p:nvPr/>
          </p:nvCxnSpPr>
          <p:spPr bwMode="gray">
            <a:xfrm flipV="1">
              <a:off x="3243943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btfpColumnIndicator675009">
              <a:extLst>
                <a:ext uri="{FF2B5EF4-FFF2-40B4-BE49-F238E27FC236}">
                  <a16:creationId xmlns:a16="http://schemas.microsoft.com/office/drawing/2014/main" id="{DA6B797A-8D4E-3155-C2A1-DFDCD38C5542}"/>
                </a:ext>
              </a:extLst>
            </p:cNvPr>
            <p:cNvCxnSpPr/>
            <p:nvPr/>
          </p:nvCxnSpPr>
          <p:spPr bwMode="gray">
            <a:xfrm flipV="1">
              <a:off x="20537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0" name="btfpColumnGapBlocker249842">
              <a:extLst>
                <a:ext uri="{FF2B5EF4-FFF2-40B4-BE49-F238E27FC236}">
                  <a16:creationId xmlns:a16="http://schemas.microsoft.com/office/drawing/2014/main" id="{94A5BD89-2454-F86E-AB0E-1FF8A110D00F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cxnSp>
          <p:nvCxnSpPr>
            <p:cNvPr id="188" name="btfpColumnIndicator787951">
              <a:extLst>
                <a:ext uri="{FF2B5EF4-FFF2-40B4-BE49-F238E27FC236}">
                  <a16:creationId xmlns:a16="http://schemas.microsoft.com/office/drawing/2014/main" id="{E6A8DC38-29E6-C08B-E731-43C24BF145E9}"/>
                </a:ext>
              </a:extLst>
            </p:cNvPr>
            <p:cNvCxnSpPr/>
            <p:nvPr/>
          </p:nvCxnSpPr>
          <p:spPr bwMode="gray">
            <a:xfrm flipV="1">
              <a:off x="1520371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btfpColumnIndicator780579">
              <a:extLst>
                <a:ext uri="{FF2B5EF4-FFF2-40B4-BE49-F238E27FC236}">
                  <a16:creationId xmlns:a16="http://schemas.microsoft.com/office/drawing/2014/main" id="{C917C02A-39E7-BC47-FA6A-517072296653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0" name="btfpColumnIndicatorGroup1">
            <a:extLst>
              <a:ext uri="{FF2B5EF4-FFF2-40B4-BE49-F238E27FC236}">
                <a16:creationId xmlns:a16="http://schemas.microsoft.com/office/drawing/2014/main" id="{5688BB16-7C5C-8E68-DF38-F2AFD5576F1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28" name="btfpColumnGapBlocker325068">
              <a:extLst>
                <a:ext uri="{FF2B5EF4-FFF2-40B4-BE49-F238E27FC236}">
                  <a16:creationId xmlns:a16="http://schemas.microsoft.com/office/drawing/2014/main" id="{F4167E48-6353-D722-50F6-153B3D9C8400}"/>
                </a:ext>
              </a:extLst>
            </p:cNvPr>
            <p:cNvSpPr/>
            <p:nvPr/>
          </p:nvSpPr>
          <p:spPr bwMode="gray">
            <a:xfrm>
              <a:off x="11861801" y="-205740"/>
              <a:ext cx="330199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sp>
          <p:nvSpPr>
            <p:cNvPr id="226" name="btfpColumnGapBlocker478220">
              <a:extLst>
                <a:ext uri="{FF2B5EF4-FFF2-40B4-BE49-F238E27FC236}">
                  <a16:creationId xmlns:a16="http://schemas.microsoft.com/office/drawing/2014/main" id="{C169472C-B3E7-E080-08D2-408014787BED}"/>
                </a:ext>
              </a:extLst>
            </p:cNvPr>
            <p:cNvSpPr/>
            <p:nvPr/>
          </p:nvSpPr>
          <p:spPr bwMode="gray">
            <a:xfrm>
              <a:off x="10138229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cxnSp>
          <p:nvCxnSpPr>
            <p:cNvPr id="224" name="btfpColumnIndicator539991">
              <a:extLst>
                <a:ext uri="{FF2B5EF4-FFF2-40B4-BE49-F238E27FC236}">
                  <a16:creationId xmlns:a16="http://schemas.microsoft.com/office/drawing/2014/main" id="{C51E57EA-DCA4-254F-A0C1-87D383386372}"/>
                </a:ext>
              </a:extLst>
            </p:cNvPr>
            <p:cNvCxnSpPr/>
            <p:nvPr/>
          </p:nvCxnSpPr>
          <p:spPr bwMode="gray">
            <a:xfrm flipV="1">
              <a:off x="11861801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btfpColumnIndicator181303">
              <a:extLst>
                <a:ext uri="{FF2B5EF4-FFF2-40B4-BE49-F238E27FC236}">
                  <a16:creationId xmlns:a16="http://schemas.microsoft.com/office/drawing/2014/main" id="{3216A009-628C-3EA4-5C29-BD1E355262E3}"/>
                </a:ext>
              </a:extLst>
            </p:cNvPr>
            <p:cNvCxnSpPr/>
            <p:nvPr/>
          </p:nvCxnSpPr>
          <p:spPr bwMode="gray">
            <a:xfrm flipV="1">
              <a:off x="10671629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0" name="btfpColumnGapBlocker248374">
              <a:extLst>
                <a:ext uri="{FF2B5EF4-FFF2-40B4-BE49-F238E27FC236}">
                  <a16:creationId xmlns:a16="http://schemas.microsoft.com/office/drawing/2014/main" id="{98674E82-9A69-A00B-AB60-4F48BBC04FB2}"/>
                </a:ext>
              </a:extLst>
            </p:cNvPr>
            <p:cNvSpPr/>
            <p:nvPr/>
          </p:nvSpPr>
          <p:spPr bwMode="gray">
            <a:xfrm>
              <a:off x="8414658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cxnSp>
          <p:nvCxnSpPr>
            <p:cNvPr id="218" name="btfpColumnIndicator733654">
              <a:extLst>
                <a:ext uri="{FF2B5EF4-FFF2-40B4-BE49-F238E27FC236}">
                  <a16:creationId xmlns:a16="http://schemas.microsoft.com/office/drawing/2014/main" id="{5E7B0D9C-2A6B-657A-235E-9BB7629D7E18}"/>
                </a:ext>
              </a:extLst>
            </p:cNvPr>
            <p:cNvCxnSpPr/>
            <p:nvPr/>
          </p:nvCxnSpPr>
          <p:spPr bwMode="gray">
            <a:xfrm flipV="1">
              <a:off x="10138229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btfpColumnIndicator525928">
              <a:extLst>
                <a:ext uri="{FF2B5EF4-FFF2-40B4-BE49-F238E27FC236}">
                  <a16:creationId xmlns:a16="http://schemas.microsoft.com/office/drawing/2014/main" id="{A4E82945-4B36-3941-A09F-B37176C8DB7F}"/>
                </a:ext>
              </a:extLst>
            </p:cNvPr>
            <p:cNvCxnSpPr/>
            <p:nvPr/>
          </p:nvCxnSpPr>
          <p:spPr bwMode="gray">
            <a:xfrm flipV="1">
              <a:off x="894805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4" name="btfpColumnGapBlocker154309">
              <a:extLst>
                <a:ext uri="{FF2B5EF4-FFF2-40B4-BE49-F238E27FC236}">
                  <a16:creationId xmlns:a16="http://schemas.microsoft.com/office/drawing/2014/main" id="{3B19B8AA-F6A5-894C-BEAF-6B6278774466}"/>
                </a:ext>
              </a:extLst>
            </p:cNvPr>
            <p:cNvSpPr/>
            <p:nvPr/>
          </p:nvSpPr>
          <p:spPr bwMode="gray">
            <a:xfrm>
              <a:off x="6691086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cxnSp>
          <p:nvCxnSpPr>
            <p:cNvPr id="212" name="btfpColumnIndicator246441">
              <a:extLst>
                <a:ext uri="{FF2B5EF4-FFF2-40B4-BE49-F238E27FC236}">
                  <a16:creationId xmlns:a16="http://schemas.microsoft.com/office/drawing/2014/main" id="{6B0A414F-198C-BC36-96C1-09A1E243C859}"/>
                </a:ext>
              </a:extLst>
            </p:cNvPr>
            <p:cNvCxnSpPr/>
            <p:nvPr/>
          </p:nvCxnSpPr>
          <p:spPr bwMode="gray">
            <a:xfrm flipV="1">
              <a:off x="841465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btfpColumnIndicator694690">
              <a:extLst>
                <a:ext uri="{FF2B5EF4-FFF2-40B4-BE49-F238E27FC236}">
                  <a16:creationId xmlns:a16="http://schemas.microsoft.com/office/drawing/2014/main" id="{7981CCAB-B6C0-2720-DD0C-D4F459C2E541}"/>
                </a:ext>
              </a:extLst>
            </p:cNvPr>
            <p:cNvCxnSpPr/>
            <p:nvPr/>
          </p:nvCxnSpPr>
          <p:spPr bwMode="gray">
            <a:xfrm flipV="1">
              <a:off x="722448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" name="btfpColumnGapBlocker815451">
              <a:extLst>
                <a:ext uri="{FF2B5EF4-FFF2-40B4-BE49-F238E27FC236}">
                  <a16:creationId xmlns:a16="http://schemas.microsoft.com/office/drawing/2014/main" id="{F330C4B0-ADC6-E122-204E-16842B2149E7}"/>
                </a:ext>
              </a:extLst>
            </p:cNvPr>
            <p:cNvSpPr/>
            <p:nvPr/>
          </p:nvSpPr>
          <p:spPr bwMode="gray">
            <a:xfrm>
              <a:off x="4967515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cxnSp>
          <p:nvCxnSpPr>
            <p:cNvPr id="206" name="btfpColumnIndicator852692">
              <a:extLst>
                <a:ext uri="{FF2B5EF4-FFF2-40B4-BE49-F238E27FC236}">
                  <a16:creationId xmlns:a16="http://schemas.microsoft.com/office/drawing/2014/main" id="{3E4B8607-F246-5C10-96DA-466C1209BAC5}"/>
                </a:ext>
              </a:extLst>
            </p:cNvPr>
            <p:cNvCxnSpPr/>
            <p:nvPr/>
          </p:nvCxnSpPr>
          <p:spPr bwMode="gray">
            <a:xfrm flipV="1">
              <a:off x="669108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btfpColumnIndicator786424">
              <a:extLst>
                <a:ext uri="{FF2B5EF4-FFF2-40B4-BE49-F238E27FC236}">
                  <a16:creationId xmlns:a16="http://schemas.microsoft.com/office/drawing/2014/main" id="{A4AD201C-CC97-7F20-076E-2DB0EC1AEDF9}"/>
                </a:ext>
              </a:extLst>
            </p:cNvPr>
            <p:cNvCxnSpPr/>
            <p:nvPr/>
          </p:nvCxnSpPr>
          <p:spPr bwMode="gray">
            <a:xfrm flipV="1">
              <a:off x="5500915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2" name="btfpColumnGapBlocker615079">
              <a:extLst>
                <a:ext uri="{FF2B5EF4-FFF2-40B4-BE49-F238E27FC236}">
                  <a16:creationId xmlns:a16="http://schemas.microsoft.com/office/drawing/2014/main" id="{408F1583-3B93-76AB-1CF1-61400A126924}"/>
                </a:ext>
              </a:extLst>
            </p:cNvPr>
            <p:cNvSpPr/>
            <p:nvPr/>
          </p:nvSpPr>
          <p:spPr bwMode="gray">
            <a:xfrm>
              <a:off x="3243943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cxnSp>
          <p:nvCxnSpPr>
            <p:cNvPr id="200" name="btfpColumnIndicator412395">
              <a:extLst>
                <a:ext uri="{FF2B5EF4-FFF2-40B4-BE49-F238E27FC236}">
                  <a16:creationId xmlns:a16="http://schemas.microsoft.com/office/drawing/2014/main" id="{AF1E3813-626A-AB8B-3874-F57E3525BC3B}"/>
                </a:ext>
              </a:extLst>
            </p:cNvPr>
            <p:cNvCxnSpPr/>
            <p:nvPr/>
          </p:nvCxnSpPr>
          <p:spPr bwMode="gray">
            <a:xfrm flipV="1">
              <a:off x="4967515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btfpColumnIndicator254511">
              <a:extLst>
                <a:ext uri="{FF2B5EF4-FFF2-40B4-BE49-F238E27FC236}">
                  <a16:creationId xmlns:a16="http://schemas.microsoft.com/office/drawing/2014/main" id="{DFE55429-8264-F5DF-2319-94622DAF70C3}"/>
                </a:ext>
              </a:extLst>
            </p:cNvPr>
            <p:cNvCxnSpPr/>
            <p:nvPr/>
          </p:nvCxnSpPr>
          <p:spPr bwMode="gray">
            <a:xfrm flipV="1">
              <a:off x="3777343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5" name="btfpColumnGapBlocker621243">
              <a:extLst>
                <a:ext uri="{FF2B5EF4-FFF2-40B4-BE49-F238E27FC236}">
                  <a16:creationId xmlns:a16="http://schemas.microsoft.com/office/drawing/2014/main" id="{8A841AF8-793E-78A4-389F-479E2C94ABBE}"/>
                </a:ext>
              </a:extLst>
            </p:cNvPr>
            <p:cNvSpPr/>
            <p:nvPr/>
          </p:nvSpPr>
          <p:spPr bwMode="gray">
            <a:xfrm>
              <a:off x="1520371" y="-205740"/>
              <a:ext cx="533401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cxnSp>
          <p:nvCxnSpPr>
            <p:cNvPr id="193" name="btfpColumnIndicator609047">
              <a:extLst>
                <a:ext uri="{FF2B5EF4-FFF2-40B4-BE49-F238E27FC236}">
                  <a16:creationId xmlns:a16="http://schemas.microsoft.com/office/drawing/2014/main" id="{26411F25-B148-847E-EBCB-AAA6EA7F3B04}"/>
                </a:ext>
              </a:extLst>
            </p:cNvPr>
            <p:cNvCxnSpPr/>
            <p:nvPr/>
          </p:nvCxnSpPr>
          <p:spPr bwMode="gray">
            <a:xfrm flipV="1">
              <a:off x="3243943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btfpColumnIndicator312832">
              <a:extLst>
                <a:ext uri="{FF2B5EF4-FFF2-40B4-BE49-F238E27FC236}">
                  <a16:creationId xmlns:a16="http://schemas.microsoft.com/office/drawing/2014/main" id="{E1763267-B81A-F17E-967F-883DC4ED15D1}"/>
                </a:ext>
              </a:extLst>
            </p:cNvPr>
            <p:cNvCxnSpPr/>
            <p:nvPr/>
          </p:nvCxnSpPr>
          <p:spPr bwMode="gray">
            <a:xfrm flipV="1">
              <a:off x="20537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9" name="btfpColumnGapBlocker191019">
              <a:extLst>
                <a:ext uri="{FF2B5EF4-FFF2-40B4-BE49-F238E27FC236}">
                  <a16:creationId xmlns:a16="http://schemas.microsoft.com/office/drawing/2014/main" id="{F313D4C9-2E73-1201-6609-E954A068E81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cxnSp>
          <p:nvCxnSpPr>
            <p:cNvPr id="187" name="btfpColumnIndicator160166">
              <a:extLst>
                <a:ext uri="{FF2B5EF4-FFF2-40B4-BE49-F238E27FC236}">
                  <a16:creationId xmlns:a16="http://schemas.microsoft.com/office/drawing/2014/main" id="{44686179-6A26-53B8-2553-08E75FF1BB63}"/>
                </a:ext>
              </a:extLst>
            </p:cNvPr>
            <p:cNvCxnSpPr/>
            <p:nvPr/>
          </p:nvCxnSpPr>
          <p:spPr bwMode="gray">
            <a:xfrm flipV="1">
              <a:off x="1520371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btfpColumnIndicator255601">
              <a:extLst>
                <a:ext uri="{FF2B5EF4-FFF2-40B4-BE49-F238E27FC236}">
                  <a16:creationId xmlns:a16="http://schemas.microsoft.com/office/drawing/2014/main" id="{A3898E99-D7A3-A0AD-9DB7-C4445D08ED3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02D88A2-BB9F-BEF0-5C84-8332794F88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8770" y="189645"/>
            <a:ext cx="11854458" cy="6540575"/>
          </a:xfrm>
          <a:prstGeom prst="roundRect">
            <a:avLst>
              <a:gd name="adj" fmla="val 9264"/>
            </a:avLst>
          </a:prstGeom>
          <a:solidFill>
            <a:schemeClr val="bg1">
              <a:lumMod val="95000"/>
            </a:schemeClr>
          </a:solidFill>
          <a:ln w="413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 Light"/>
              <a:ea typeface="MS PGothic"/>
              <a:cs typeface="+mn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D7DB7035-2046-899B-FABE-DE35B72AC499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 rot="5400000" flipH="1">
            <a:off x="10676597" y="-211798"/>
            <a:ext cx="1456005" cy="1765300"/>
          </a:xfrm>
          <a:custGeom>
            <a:avLst/>
            <a:gdLst>
              <a:gd name="connsiteX0" fmla="*/ 1456005 w 1456005"/>
              <a:gd name="connsiteY0" fmla="*/ 0 h 1608811"/>
              <a:gd name="connsiteX1" fmla="*/ 0 w 1456005"/>
              <a:gd name="connsiteY1" fmla="*/ 0 h 1608811"/>
              <a:gd name="connsiteX2" fmla="*/ 16015 w 1456005"/>
              <a:gd name="connsiteY2" fmla="*/ 9208 h 1608811"/>
              <a:gd name="connsiteX3" fmla="*/ 1373625 w 1456005"/>
              <a:gd name="connsiteY3" fmla="*/ 1242540 h 1608811"/>
              <a:gd name="connsiteX4" fmla="*/ 1456004 w 1456005"/>
              <a:gd name="connsiteY4" fmla="*/ 1358385 h 1608811"/>
              <a:gd name="connsiteX5" fmla="*/ 1456004 w 1456005"/>
              <a:gd name="connsiteY5" fmla="*/ 1608811 h 1608811"/>
              <a:gd name="connsiteX6" fmla="*/ 1456005 w 1456005"/>
              <a:gd name="connsiteY6" fmla="*/ 1608811 h 1608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6005" h="1608811">
                <a:moveTo>
                  <a:pt x="1456005" y="0"/>
                </a:moveTo>
                <a:lnTo>
                  <a:pt x="0" y="0"/>
                </a:lnTo>
                <a:lnTo>
                  <a:pt x="16015" y="9208"/>
                </a:lnTo>
                <a:cubicBezTo>
                  <a:pt x="543896" y="329959"/>
                  <a:pt x="1005013" y="749650"/>
                  <a:pt x="1373625" y="1242540"/>
                </a:cubicBezTo>
                <a:lnTo>
                  <a:pt x="1456004" y="1358385"/>
                </a:lnTo>
                <a:lnTo>
                  <a:pt x="1456004" y="1608811"/>
                </a:lnTo>
                <a:lnTo>
                  <a:pt x="1456005" y="1608811"/>
                </a:lnTo>
                <a:close/>
              </a:path>
            </a:pathLst>
          </a:custGeom>
          <a:solidFill>
            <a:srgbClr val="FFCE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 Light"/>
              <a:ea typeface="MS PGothic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329DEE86-FDB7-A9AC-C025-AD80689A3882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 rot="5400000" flipV="1">
            <a:off x="154649" y="5252427"/>
            <a:ext cx="1456005" cy="1765300"/>
          </a:xfrm>
          <a:custGeom>
            <a:avLst/>
            <a:gdLst>
              <a:gd name="connsiteX0" fmla="*/ 1456005 w 1456005"/>
              <a:gd name="connsiteY0" fmla="*/ 0 h 1608811"/>
              <a:gd name="connsiteX1" fmla="*/ 0 w 1456005"/>
              <a:gd name="connsiteY1" fmla="*/ 0 h 1608811"/>
              <a:gd name="connsiteX2" fmla="*/ 16015 w 1456005"/>
              <a:gd name="connsiteY2" fmla="*/ 9208 h 1608811"/>
              <a:gd name="connsiteX3" fmla="*/ 1373625 w 1456005"/>
              <a:gd name="connsiteY3" fmla="*/ 1242540 h 1608811"/>
              <a:gd name="connsiteX4" fmla="*/ 1456004 w 1456005"/>
              <a:gd name="connsiteY4" fmla="*/ 1358385 h 1608811"/>
              <a:gd name="connsiteX5" fmla="*/ 1456004 w 1456005"/>
              <a:gd name="connsiteY5" fmla="*/ 1608811 h 1608811"/>
              <a:gd name="connsiteX6" fmla="*/ 1456005 w 1456005"/>
              <a:gd name="connsiteY6" fmla="*/ 1608811 h 1608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6005" h="1608811">
                <a:moveTo>
                  <a:pt x="1456005" y="0"/>
                </a:moveTo>
                <a:lnTo>
                  <a:pt x="0" y="0"/>
                </a:lnTo>
                <a:lnTo>
                  <a:pt x="16015" y="9208"/>
                </a:lnTo>
                <a:cubicBezTo>
                  <a:pt x="543896" y="329959"/>
                  <a:pt x="1005013" y="749650"/>
                  <a:pt x="1373625" y="1242540"/>
                </a:cubicBezTo>
                <a:lnTo>
                  <a:pt x="1456004" y="1358385"/>
                </a:lnTo>
                <a:lnTo>
                  <a:pt x="1456004" y="1608811"/>
                </a:lnTo>
                <a:lnTo>
                  <a:pt x="1456005" y="1608811"/>
                </a:lnTo>
                <a:close/>
              </a:path>
            </a:pathLst>
          </a:custGeom>
          <a:solidFill>
            <a:srgbClr val="FFCE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 Light"/>
              <a:ea typeface="MS PGothic"/>
              <a:cs typeface="+mn-cs"/>
            </a:endParaRPr>
          </a:p>
        </p:txBody>
      </p:sp>
      <p:sp>
        <p:nvSpPr>
          <p:cNvPr id="16" name="Title 2271">
            <a:extLst>
              <a:ext uri="{FF2B5EF4-FFF2-40B4-BE49-F238E27FC236}">
                <a16:creationId xmlns:a16="http://schemas.microsoft.com/office/drawing/2014/main" id="{38C5FCB9-FE02-1D7E-3772-E9B2FA93A07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805099" y="382379"/>
            <a:ext cx="10581802" cy="8262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Proposta de valor para mecanismos na BIP</a:t>
            </a:r>
          </a:p>
        </p:txBody>
      </p:sp>
      <p:sp>
        <p:nvSpPr>
          <p:cNvPr id="2" name="Rectangle: Diagonal Corners Rounded 1">
            <a:extLst>
              <a:ext uri="{FF2B5EF4-FFF2-40B4-BE49-F238E27FC236}">
                <a16:creationId xmlns:a16="http://schemas.microsoft.com/office/drawing/2014/main" id="{E3229179-9650-770D-1537-6FB937D071B7}"/>
              </a:ext>
            </a:extLst>
          </p:cNvPr>
          <p:cNvSpPr/>
          <p:nvPr/>
        </p:nvSpPr>
        <p:spPr bwMode="gray">
          <a:xfrm>
            <a:off x="9840672" y="1340701"/>
            <a:ext cx="1997362" cy="414007"/>
          </a:xfrm>
          <a:prstGeom prst="round2DiagRect">
            <a:avLst/>
          </a:prstGeom>
          <a:solidFill>
            <a:srgbClr val="104C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1216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108000" tIns="108000" rIns="108000" bIns="108000" anchor="ctr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Visibilidade projetos beneficiados</a:t>
            </a:r>
          </a:p>
        </p:txBody>
      </p:sp>
      <p:sp>
        <p:nvSpPr>
          <p:cNvPr id="3" name="Rectangle: Diagonal Corners Rounded 2">
            <a:extLst>
              <a:ext uri="{FF2B5EF4-FFF2-40B4-BE49-F238E27FC236}">
                <a16:creationId xmlns:a16="http://schemas.microsoft.com/office/drawing/2014/main" id="{58946A29-A670-2554-9B78-CC47F08AEBD1}"/>
              </a:ext>
            </a:extLst>
          </p:cNvPr>
          <p:cNvSpPr/>
          <p:nvPr/>
        </p:nvSpPr>
        <p:spPr bwMode="gray">
          <a:xfrm>
            <a:off x="3326020" y="1340702"/>
            <a:ext cx="4263290" cy="414007"/>
          </a:xfrm>
          <a:prstGeom prst="round2DiagRect">
            <a:avLst/>
          </a:prstGeom>
          <a:solidFill>
            <a:srgbClr val="104C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1216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144000" tIns="108000" rIns="144000" bIns="108000" anchor="ctr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Captação para os mecanismos</a:t>
            </a:r>
          </a:p>
        </p:txBody>
      </p:sp>
      <p:sp>
        <p:nvSpPr>
          <p:cNvPr id="23" name="btfpBulletedList374801">
            <a:extLst>
              <a:ext uri="{FF2B5EF4-FFF2-40B4-BE49-F238E27FC236}">
                <a16:creationId xmlns:a16="http://schemas.microsoft.com/office/drawing/2014/main" id="{6BE5251E-BC30-8D66-97DA-EC96F0A485DC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326020" y="2483584"/>
            <a:ext cx="1997362" cy="1277273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177800" marR="0" lvl="0" indent="-177800" algn="l" defTabSz="711200" rtl="0" eaLnBrk="0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1" lang="pt-BR" sz="1100" b="1" i="0" u="none" strike="noStrike" kern="1200" cap="none" spc="0" normalizeH="0" baseline="0" noProof="0">
                <a:ln>
                  <a:noFill/>
                </a:ln>
                <a:solidFill>
                  <a:srgbClr val="AB8933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Selo BIP </a:t>
            </a:r>
            <a:r>
              <a:rPr kumimoji="1" 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pode fortalecer credibilidade em negociações de captação, como reconhecimento de </a:t>
            </a:r>
            <a:r>
              <a:rPr kumimoji="1" lang="pt-BR" sz="1100" b="1" i="0" u="none" strike="noStrike" kern="1200" cap="none" spc="0" normalizeH="0" baseline="0" noProof="0">
                <a:ln>
                  <a:noFill/>
                </a:ln>
                <a:solidFill>
                  <a:srgbClr val="AB8933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alinhamento à agenda nacional de transição climática </a:t>
            </a:r>
          </a:p>
        </p:txBody>
      </p:sp>
      <p:sp>
        <p:nvSpPr>
          <p:cNvPr id="21" name="btfpColumnHeaderBoxText912824">
            <a:extLst>
              <a:ext uri="{FF2B5EF4-FFF2-40B4-BE49-F238E27FC236}">
                <a16:creationId xmlns:a16="http://schemas.microsoft.com/office/drawing/2014/main" id="{01052987-38B8-6FB5-1554-86916A33B8BC}"/>
              </a:ext>
            </a:extLst>
          </p:cNvPr>
          <p:cNvSpPr txBox="1"/>
          <p:nvPr/>
        </p:nvSpPr>
        <p:spPr bwMode="gray">
          <a:xfrm>
            <a:off x="3326020" y="2003879"/>
            <a:ext cx="1975732" cy="257442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rgbClr val="AB8933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SELO BIP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0F61980-C7E2-4497-BC19-CAE675C25BFB}"/>
              </a:ext>
            </a:extLst>
          </p:cNvPr>
          <p:cNvSpPr/>
          <p:nvPr/>
        </p:nvSpPr>
        <p:spPr bwMode="gray">
          <a:xfrm>
            <a:off x="3326020" y="2287919"/>
            <a:ext cx="1026357" cy="58226"/>
          </a:xfrm>
          <a:prstGeom prst="roundRect">
            <a:avLst>
              <a:gd name="adj" fmla="val 44330"/>
            </a:avLst>
          </a:prstGeom>
          <a:solidFill>
            <a:srgbClr val="AB893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AB8933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MS PGothic"/>
              <a:cs typeface="+mn-cs"/>
            </a:endParaRPr>
          </a:p>
        </p:txBody>
      </p:sp>
      <p:grpSp>
        <p:nvGrpSpPr>
          <p:cNvPr id="29" name="btfpIcon206672">
            <a:extLst>
              <a:ext uri="{FF2B5EF4-FFF2-40B4-BE49-F238E27FC236}">
                <a16:creationId xmlns:a16="http://schemas.microsoft.com/office/drawing/2014/main" id="{C294D71D-A370-F440-AF7E-33E5DCCC3384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4452636" y="1864132"/>
            <a:ext cx="541855" cy="540544"/>
            <a:chOff x="3439064" y="1668646"/>
            <a:chExt cx="763727" cy="763727"/>
          </a:xfrm>
        </p:grpSpPr>
        <p:sp>
          <p:nvSpPr>
            <p:cNvPr id="30" name="btfpIconCircle206672">
              <a:extLst>
                <a:ext uri="{FF2B5EF4-FFF2-40B4-BE49-F238E27FC236}">
                  <a16:creationId xmlns:a16="http://schemas.microsoft.com/office/drawing/2014/main" id="{94871A42-6486-577D-2BB0-69677634B5B5}"/>
                </a:ext>
              </a:extLst>
            </p:cNvPr>
            <p:cNvSpPr>
              <a:spLocks/>
            </p:cNvSpPr>
            <p:nvPr/>
          </p:nvSpPr>
          <p:spPr bwMode="gray">
            <a:xfrm>
              <a:off x="3439064" y="1668646"/>
              <a:ext cx="763727" cy="763727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pic>
          <p:nvPicPr>
            <p:cNvPr id="31" name="btfpIconLines206672">
              <a:extLst>
                <a:ext uri="{FF2B5EF4-FFF2-40B4-BE49-F238E27FC236}">
                  <a16:creationId xmlns:a16="http://schemas.microsoft.com/office/drawing/2014/main" id="{E96A4D3E-4FB2-7F3F-E801-0CA8D4A6CDB3}"/>
                </a:ext>
              </a:extLst>
            </p:cNvPr>
            <p:cNvPicPr>
              <a:picLocks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439064" y="1668646"/>
              <a:ext cx="763727" cy="763727"/>
            </a:xfrm>
            <a:prstGeom prst="rect">
              <a:avLst/>
            </a:prstGeom>
          </p:spPr>
        </p:pic>
      </p:grpSp>
      <p:sp>
        <p:nvSpPr>
          <p:cNvPr id="32" name="btfpBulletedList374801">
            <a:extLst>
              <a:ext uri="{FF2B5EF4-FFF2-40B4-BE49-F238E27FC236}">
                <a16:creationId xmlns:a16="http://schemas.microsoft.com/office/drawing/2014/main" id="{6B085FDB-0F3A-2412-3399-03BFB355DF7C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3326020" y="4161223"/>
            <a:ext cx="1997362" cy="1277273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177800" marR="0" lvl="0" indent="-177800" algn="l" defTabSz="711200" rtl="0" eaLnBrk="0" fontAlgn="auto" latinLnBrk="0" hangingPunct="1">
              <a:lnSpc>
                <a:spcPct val="100000"/>
              </a:lnSpc>
              <a:spcBef>
                <a:spcPts val="3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1" 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Como parte da plataforma,</a:t>
            </a:r>
            <a:r>
              <a:rPr kumimoji="1" lang="pt-BR" sz="1100" b="0" i="0" u="none" strike="noStrike" kern="1200" cap="none" spc="0" normalizeH="0" baseline="0" noProof="0">
                <a:ln>
                  <a:noFill/>
                </a:ln>
                <a:solidFill>
                  <a:srgbClr val="012169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 o </a:t>
            </a:r>
            <a:r>
              <a:rPr kumimoji="1" lang="pt-BR" sz="1100" b="1" i="0" u="none" strike="noStrike" kern="1200" cap="none" spc="0" normalizeH="0" baseline="0" noProof="0">
                <a:ln>
                  <a:noFill/>
                </a:ln>
                <a:solidFill>
                  <a:srgbClr val="AB8933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mecanismo pode utilizar logo da BIP em seus materiais institucionais e site </a:t>
            </a:r>
            <a:r>
              <a:rPr kumimoji="1" 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para apoio de suas ações de captação</a:t>
            </a:r>
          </a:p>
        </p:txBody>
      </p:sp>
      <p:sp>
        <p:nvSpPr>
          <p:cNvPr id="33" name="btfpBulletedList671079">
            <a:extLst>
              <a:ext uri="{FF2B5EF4-FFF2-40B4-BE49-F238E27FC236}">
                <a16:creationId xmlns:a16="http://schemas.microsoft.com/office/drawing/2014/main" id="{79E0A77A-36F6-57C4-7920-60699F1704BF}"/>
              </a:ext>
            </a:extLst>
          </p:cNvPr>
          <p:cNvSpPr/>
          <p:nvPr/>
        </p:nvSpPr>
        <p:spPr bwMode="gray">
          <a:xfrm>
            <a:off x="7716310" y="2482508"/>
            <a:ext cx="1997362" cy="159061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6D6">
                    <a:alpha val="25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1" 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Acesso a </a:t>
            </a:r>
            <a:r>
              <a:rPr kumimoji="1" lang="pt-BR" sz="11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pipeline de projetos pré-selecionados </a:t>
            </a:r>
            <a:r>
              <a:rPr kumimoji="1" 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e alinhados à agenda de transição climática do governo</a:t>
            </a:r>
          </a:p>
        </p:txBody>
      </p:sp>
      <p:sp>
        <p:nvSpPr>
          <p:cNvPr id="34" name="btfpBulletedList398057">
            <a:extLst>
              <a:ext uri="{FF2B5EF4-FFF2-40B4-BE49-F238E27FC236}">
                <a16:creationId xmlns:a16="http://schemas.microsoft.com/office/drawing/2014/main" id="{7D9806C0-48F1-DF89-0456-1C784D8F263E}"/>
              </a:ext>
            </a:extLst>
          </p:cNvPr>
          <p:cNvSpPr/>
          <p:nvPr/>
        </p:nvSpPr>
        <p:spPr bwMode="gray">
          <a:xfrm>
            <a:off x="7716310" y="4161223"/>
            <a:ext cx="1997362" cy="161197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6D6">
                    <a:alpha val="25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177800" algn="l" defTabSz="914400" rtl="0" eaLnBrk="0" fontAlgn="base" latinLnBrk="0" hangingPunc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pt-BR" altLang="pt-BR" sz="11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Conexão direta a projetos </a:t>
            </a:r>
            <a:r>
              <a:rPr kumimoji="0" lang="pt-BR" alt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de interesse</a:t>
            </a:r>
          </a:p>
        </p:txBody>
      </p:sp>
      <p:sp>
        <p:nvSpPr>
          <p:cNvPr id="18" name="btfpColumnHeaderBoxText912824">
            <a:extLst>
              <a:ext uri="{FF2B5EF4-FFF2-40B4-BE49-F238E27FC236}">
                <a16:creationId xmlns:a16="http://schemas.microsoft.com/office/drawing/2014/main" id="{E846279E-FB4F-5AFD-6B51-7878F4370B10}"/>
              </a:ext>
            </a:extLst>
          </p:cNvPr>
          <p:cNvSpPr txBox="1"/>
          <p:nvPr/>
        </p:nvSpPr>
        <p:spPr bwMode="gray">
          <a:xfrm>
            <a:off x="7716310" y="1877075"/>
            <a:ext cx="1739713" cy="442108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ACESSO AO </a:t>
            </a:r>
            <a:b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</a:b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PIPELINE BIP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CBA43E6-BDA6-CFA1-4429-474FFFB368B6}"/>
              </a:ext>
            </a:extLst>
          </p:cNvPr>
          <p:cNvSpPr/>
          <p:nvPr/>
        </p:nvSpPr>
        <p:spPr bwMode="gray">
          <a:xfrm>
            <a:off x="7763470" y="2345781"/>
            <a:ext cx="1026357" cy="58226"/>
          </a:xfrm>
          <a:prstGeom prst="roundRect">
            <a:avLst>
              <a:gd name="adj" fmla="val 44330"/>
            </a:avLst>
          </a:prstGeom>
          <a:solidFill>
            <a:srgbClr val="333333"/>
          </a:solidFill>
          <a:ln w="9525" cap="flat" cmpd="sng" algn="ctr">
            <a:solidFill>
              <a:srgbClr val="33333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MS PGothic"/>
              <a:cs typeface="+mn-cs"/>
            </a:endParaRPr>
          </a:p>
        </p:txBody>
      </p:sp>
      <p:grpSp>
        <p:nvGrpSpPr>
          <p:cNvPr id="53" name="btfpIcon393815">
            <a:extLst>
              <a:ext uri="{FF2B5EF4-FFF2-40B4-BE49-F238E27FC236}">
                <a16:creationId xmlns:a16="http://schemas.microsoft.com/office/drawing/2014/main" id="{7307AB3D-D6EF-3526-A96F-1AF52641A93A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8924989" y="1864132"/>
            <a:ext cx="540544" cy="540544"/>
            <a:chOff x="11238776" y="1921282"/>
            <a:chExt cx="540544" cy="540544"/>
          </a:xfrm>
        </p:grpSpPr>
        <p:sp>
          <p:nvSpPr>
            <p:cNvPr id="52" name="btfpIconCircle393815">
              <a:extLst>
                <a:ext uri="{FF2B5EF4-FFF2-40B4-BE49-F238E27FC236}">
                  <a16:creationId xmlns:a16="http://schemas.microsoft.com/office/drawing/2014/main" id="{7EBBABE9-1551-3087-A961-6DCA87173045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38776" y="1921282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pic>
          <p:nvPicPr>
            <p:cNvPr id="48" name="btfpIconLines393815">
              <a:extLst>
                <a:ext uri="{FF2B5EF4-FFF2-40B4-BE49-F238E27FC236}">
                  <a16:creationId xmlns:a16="http://schemas.microsoft.com/office/drawing/2014/main" id="{80ACDDD8-13EB-BE47-C4D8-F084E7174BE6}"/>
                </a:ext>
              </a:extLst>
            </p:cNvPr>
            <p:cNvPicPr>
              <a:picLocks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11238776" y="1921282"/>
              <a:ext cx="540544" cy="540544"/>
            </a:xfrm>
            <a:prstGeom prst="rect">
              <a:avLst/>
            </a:prstGeom>
          </p:spPr>
        </p:pic>
      </p:grpSp>
      <p:sp>
        <p:nvSpPr>
          <p:cNvPr id="24" name="btfpNotesBox725118">
            <a:extLst>
              <a:ext uri="{FF2B5EF4-FFF2-40B4-BE49-F238E27FC236}">
                <a16:creationId xmlns:a16="http://schemas.microsoft.com/office/drawing/2014/main" id="{064FDEBE-905E-5B2F-4A8D-17051C108793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1434187" y="6730220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pt-B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Nota: (1) Exclusivo para mecanismos que entraram na BIP em fase de estruturação; (2) Sujeito à aprovação do projeto nos critérios de qualificação de projetos da BIP, analisados pelo Secretariado BIP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7E4341-7DCF-E00D-D466-817F739262AB}"/>
              </a:ext>
            </a:extLst>
          </p:cNvPr>
          <p:cNvSpPr txBox="1"/>
          <p:nvPr/>
        </p:nvSpPr>
        <p:spPr bwMode="gray">
          <a:xfrm>
            <a:off x="222421" y="2360456"/>
            <a:ext cx="872815" cy="4112724"/>
          </a:xfrm>
          <a:prstGeom prst="round2DiagRect">
            <a:avLst/>
          </a:prstGeom>
          <a:solidFill>
            <a:srgbClr val="104C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1216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144000" tIns="108000" rIns="144000" bIns="108000" anchor="t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S PGothic"/>
              <a:cs typeface="Arial" panose="020B0604020202020204" pitchFamily="34" charset="0"/>
            </a:endParaRPr>
          </a:p>
        </p:txBody>
      </p:sp>
      <p:grpSp>
        <p:nvGrpSpPr>
          <p:cNvPr id="7" name="btfpIcon128706">
            <a:extLst>
              <a:ext uri="{FF2B5EF4-FFF2-40B4-BE49-F238E27FC236}">
                <a16:creationId xmlns:a16="http://schemas.microsoft.com/office/drawing/2014/main" id="{57E0FB27-2D18-4CC8-9A9F-8BA67B89825D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222421" y="2482508"/>
            <a:ext cx="872815" cy="872815"/>
            <a:chOff x="866405" y="1887488"/>
            <a:chExt cx="1308115" cy="1081088"/>
          </a:xfrm>
        </p:grpSpPr>
        <p:sp>
          <p:nvSpPr>
            <p:cNvPr id="8" name="btfpIconCircle128706">
              <a:extLst>
                <a:ext uri="{FF2B5EF4-FFF2-40B4-BE49-F238E27FC236}">
                  <a16:creationId xmlns:a16="http://schemas.microsoft.com/office/drawing/2014/main" id="{C5A6A5FF-BC45-93C8-96B4-81B72DCF8B04}"/>
                </a:ext>
              </a:extLst>
            </p:cNvPr>
            <p:cNvSpPr>
              <a:spLocks/>
            </p:cNvSpPr>
            <p:nvPr/>
          </p:nvSpPr>
          <p:spPr bwMode="gray">
            <a:xfrm>
              <a:off x="866405" y="1887488"/>
              <a:ext cx="1308115" cy="1081088"/>
            </a:xfrm>
            <a:prstGeom prst="ellipse">
              <a:avLst/>
            </a:prstGeom>
            <a:solidFill>
              <a:srgbClr val="104C3E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pic>
          <p:nvPicPr>
            <p:cNvPr id="9" name="btfpIconLines128706">
              <a:extLst>
                <a:ext uri="{FF2B5EF4-FFF2-40B4-BE49-F238E27FC236}">
                  <a16:creationId xmlns:a16="http://schemas.microsoft.com/office/drawing/2014/main" id="{0352A56A-DD20-23A1-7AE4-1E913D343532}"/>
                </a:ext>
              </a:extLst>
            </p:cNvPr>
            <p:cNvPicPr>
              <a:picLocks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866405" y="1887488"/>
              <a:ext cx="1308115" cy="1081088"/>
            </a:xfrm>
            <a:prstGeom prst="rect">
              <a:avLst/>
            </a:prstGeom>
            <a:solidFill>
              <a:srgbClr val="104C3E"/>
            </a:solidFill>
          </p:spPr>
        </p:pic>
      </p:grpSp>
      <p:grpSp>
        <p:nvGrpSpPr>
          <p:cNvPr id="10" name="btfpIcon574961">
            <a:extLst>
              <a:ext uri="{FF2B5EF4-FFF2-40B4-BE49-F238E27FC236}">
                <a16:creationId xmlns:a16="http://schemas.microsoft.com/office/drawing/2014/main" id="{201CC7BD-CF2F-37FA-CF6A-CD52E7171265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222421" y="4235732"/>
            <a:ext cx="872815" cy="872814"/>
            <a:chOff x="330199" y="964493"/>
            <a:chExt cx="1677779" cy="1386595"/>
          </a:xfrm>
        </p:grpSpPr>
        <p:sp>
          <p:nvSpPr>
            <p:cNvPr id="11" name="btfpIconCircle574961">
              <a:extLst>
                <a:ext uri="{FF2B5EF4-FFF2-40B4-BE49-F238E27FC236}">
                  <a16:creationId xmlns:a16="http://schemas.microsoft.com/office/drawing/2014/main" id="{181F3D77-FDF9-190D-613A-518BDDBA3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199" y="964493"/>
              <a:ext cx="1677778" cy="1386595"/>
            </a:xfrm>
            <a:prstGeom prst="ellipse">
              <a:avLst/>
            </a:prstGeom>
            <a:solidFill>
              <a:srgbClr val="104C3E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pic>
          <p:nvPicPr>
            <p:cNvPr id="12" name="btfpIconLines574961">
              <a:extLst>
                <a:ext uri="{FF2B5EF4-FFF2-40B4-BE49-F238E27FC236}">
                  <a16:creationId xmlns:a16="http://schemas.microsoft.com/office/drawing/2014/main" id="{3118CE93-0A6D-5862-8972-C84977D67F07}"/>
                </a:ext>
              </a:extLst>
            </p:cNvPr>
            <p:cNvPicPr>
              <a:picLocks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330200" y="964493"/>
              <a:ext cx="1677778" cy="1386595"/>
            </a:xfrm>
            <a:prstGeom prst="rect">
              <a:avLst/>
            </a:prstGeom>
            <a:solidFill>
              <a:srgbClr val="104C3E"/>
            </a:solidFill>
          </p:spPr>
        </p:pic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9EA93A2A-C67F-E41A-380A-E6152C634130}"/>
              </a:ext>
            </a:extLst>
          </p:cNvPr>
          <p:cNvSpPr/>
          <p:nvPr/>
        </p:nvSpPr>
        <p:spPr bwMode="gray">
          <a:xfrm>
            <a:off x="222421" y="5157990"/>
            <a:ext cx="872815" cy="448718"/>
          </a:xfrm>
          <a:prstGeom prst="rect">
            <a:avLst/>
          </a:prstGeom>
          <a:solidFill>
            <a:srgbClr val="104C3E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pt-B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Forma de atuação</a:t>
            </a:r>
          </a:p>
        </p:txBody>
      </p:sp>
      <p:sp>
        <p:nvSpPr>
          <p:cNvPr id="38" name="Rectangle: Diagonal Corners Rounded 37">
            <a:extLst>
              <a:ext uri="{FF2B5EF4-FFF2-40B4-BE49-F238E27FC236}">
                <a16:creationId xmlns:a16="http://schemas.microsoft.com/office/drawing/2014/main" id="{45B0904F-5DF7-CCCB-E729-7B7DBC8F1FC6}"/>
              </a:ext>
            </a:extLst>
          </p:cNvPr>
          <p:cNvSpPr/>
          <p:nvPr/>
        </p:nvSpPr>
        <p:spPr bwMode="gray">
          <a:xfrm>
            <a:off x="1201658" y="1340701"/>
            <a:ext cx="1997362" cy="414007"/>
          </a:xfrm>
          <a:prstGeom prst="round2DiagRect">
            <a:avLst/>
          </a:prstGeom>
          <a:solidFill>
            <a:srgbClr val="104C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1216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144000" tIns="108000" rIns="144000" bIns="108000" anchor="ctr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Estruturação¹</a:t>
            </a:r>
          </a:p>
        </p:txBody>
      </p:sp>
      <p:sp>
        <p:nvSpPr>
          <p:cNvPr id="39" name="btfpBulletedList671079">
            <a:extLst>
              <a:ext uri="{FF2B5EF4-FFF2-40B4-BE49-F238E27FC236}">
                <a16:creationId xmlns:a16="http://schemas.microsoft.com/office/drawing/2014/main" id="{457C49E9-E1DC-49E6-F0B4-8E3747039D9E}"/>
              </a:ext>
            </a:extLst>
          </p:cNvPr>
          <p:cNvSpPr/>
          <p:nvPr/>
        </p:nvSpPr>
        <p:spPr bwMode="gray">
          <a:xfrm>
            <a:off x="1201657" y="2425359"/>
            <a:ext cx="1997362" cy="104100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6D6">
                    <a:alpha val="25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1" 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Apoio à estruturação sob demanda, </a:t>
            </a:r>
            <a:r>
              <a:rPr kumimoji="1" lang="pt-BR" sz="1100" b="1" i="0" u="none" strike="noStrike" kern="1200" cap="none" spc="0" normalizeH="0" baseline="0" noProof="0">
                <a:ln>
                  <a:noFill/>
                </a:ln>
                <a:solidFill>
                  <a:srgbClr val="012169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mobilizando rede e expertise</a:t>
            </a:r>
            <a:r>
              <a:rPr kumimoji="1" 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 para refinamento do mecanismo</a:t>
            </a:r>
          </a:p>
        </p:txBody>
      </p:sp>
      <p:sp>
        <p:nvSpPr>
          <p:cNvPr id="40" name="btfpBulletedList398057">
            <a:extLst>
              <a:ext uri="{FF2B5EF4-FFF2-40B4-BE49-F238E27FC236}">
                <a16:creationId xmlns:a16="http://schemas.microsoft.com/office/drawing/2014/main" id="{8C9E0300-A414-5DCF-1917-FB453DAC714C}"/>
              </a:ext>
            </a:extLst>
          </p:cNvPr>
          <p:cNvSpPr/>
          <p:nvPr/>
        </p:nvSpPr>
        <p:spPr bwMode="gray">
          <a:xfrm>
            <a:off x="1201657" y="4161223"/>
            <a:ext cx="1997362" cy="161197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6D6">
                    <a:alpha val="25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177800" algn="l" defTabSz="914400" rtl="0" eaLnBrk="0" fontAlgn="base" latinLnBrk="0" hangingPunc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pt-BR" alt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Participação em </a:t>
            </a:r>
            <a:r>
              <a:rPr kumimoji="0" lang="pt-BR" altLang="pt-BR" sz="1100" b="1" i="0" u="none" strike="noStrike" kern="1200" cap="none" spc="0" normalizeH="0" baseline="0" noProof="0">
                <a:ln>
                  <a:noFill/>
                </a:ln>
                <a:solidFill>
                  <a:srgbClr val="012169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reuniões de refinamento</a:t>
            </a:r>
            <a:r>
              <a:rPr kumimoji="0" lang="pt-BR" alt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 do mecanismo</a:t>
            </a:r>
          </a:p>
          <a:p>
            <a:pPr marL="177800" marR="0" lvl="0" indent="-177800" algn="l" defTabSz="914400" rtl="0" eaLnBrk="0" fontAlgn="base" latinLnBrk="0" hangingPunc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pt-BR" altLang="pt-BR" sz="1100" b="1" i="0" u="none" strike="noStrike" kern="1200" cap="none" spc="0" normalizeH="0" baseline="0" noProof="0">
                <a:ln>
                  <a:noFill/>
                </a:ln>
                <a:solidFill>
                  <a:srgbClr val="012169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Conexão com projetos do pipeline ou outras redes</a:t>
            </a:r>
            <a:r>
              <a:rPr kumimoji="0" lang="pt-BR" altLang="pt-BR" sz="1100" b="0" i="0" u="none" strike="noStrike" kern="1200" cap="none" spc="0" normalizeH="0" baseline="0" noProof="0">
                <a:ln>
                  <a:noFill/>
                </a:ln>
                <a:solidFill>
                  <a:srgbClr val="012169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 </a:t>
            </a:r>
            <a:r>
              <a:rPr kumimoji="0" lang="pt-BR" alt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da BIP para validação do modelo</a:t>
            </a:r>
          </a:p>
        </p:txBody>
      </p:sp>
      <p:sp>
        <p:nvSpPr>
          <p:cNvPr id="41" name="btfpColumnHeaderBoxText912824">
            <a:extLst>
              <a:ext uri="{FF2B5EF4-FFF2-40B4-BE49-F238E27FC236}">
                <a16:creationId xmlns:a16="http://schemas.microsoft.com/office/drawing/2014/main" id="{43DE178D-2F71-FC81-5681-DA44DD7A5BA5}"/>
              </a:ext>
            </a:extLst>
          </p:cNvPr>
          <p:cNvSpPr txBox="1"/>
          <p:nvPr/>
        </p:nvSpPr>
        <p:spPr bwMode="gray">
          <a:xfrm>
            <a:off x="1201658" y="1819925"/>
            <a:ext cx="1997362" cy="442108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rgbClr val="012169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APOIO À ESTRUTURAÇÃO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03C4029A-EFCE-D4BF-6E39-7326A7CD183E}"/>
              </a:ext>
            </a:extLst>
          </p:cNvPr>
          <p:cNvSpPr/>
          <p:nvPr/>
        </p:nvSpPr>
        <p:spPr bwMode="gray">
          <a:xfrm>
            <a:off x="1201658" y="2288631"/>
            <a:ext cx="1026357" cy="58226"/>
          </a:xfrm>
          <a:prstGeom prst="roundRect">
            <a:avLst>
              <a:gd name="adj" fmla="val 44330"/>
            </a:avLst>
          </a:prstGeom>
          <a:solidFill>
            <a:srgbClr val="012169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12169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MS PGothic"/>
              <a:cs typeface="+mn-cs"/>
            </a:endParaRPr>
          </a:p>
        </p:txBody>
      </p:sp>
      <p:grpSp>
        <p:nvGrpSpPr>
          <p:cNvPr id="86" name="btfpIcon179225">
            <a:extLst>
              <a:ext uri="{FF2B5EF4-FFF2-40B4-BE49-F238E27FC236}">
                <a16:creationId xmlns:a16="http://schemas.microsoft.com/office/drawing/2014/main" id="{D585BDAD-DAC1-97E1-6B9A-3F9AE3975631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2577271" y="1863477"/>
            <a:ext cx="541855" cy="541855"/>
            <a:chOff x="2750021" y="2888456"/>
            <a:chExt cx="1081088" cy="1081088"/>
          </a:xfrm>
        </p:grpSpPr>
        <p:sp>
          <p:nvSpPr>
            <p:cNvPr id="85" name="btfpIconCircle179225">
              <a:extLst>
                <a:ext uri="{FF2B5EF4-FFF2-40B4-BE49-F238E27FC236}">
                  <a16:creationId xmlns:a16="http://schemas.microsoft.com/office/drawing/2014/main" id="{9FCCB5BD-7558-D301-D13E-03A9F7FBF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0021" y="2888456"/>
              <a:ext cx="1081088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pic>
          <p:nvPicPr>
            <p:cNvPr id="84" name="btfpIconLines179225">
              <a:extLst>
                <a:ext uri="{FF2B5EF4-FFF2-40B4-BE49-F238E27FC236}">
                  <a16:creationId xmlns:a16="http://schemas.microsoft.com/office/drawing/2014/main" id="{2E9EA565-18D4-9443-7139-6A50A57C8134}"/>
                </a:ext>
              </a:extLst>
            </p:cNvPr>
            <p:cNvPicPr>
              <a:picLocks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2750021" y="2888456"/>
              <a:ext cx="1081088" cy="1081088"/>
            </a:xfrm>
            <a:prstGeom prst="rect">
              <a:avLst/>
            </a:prstGeom>
          </p:spPr>
        </p:pic>
      </p:grpSp>
      <p:sp>
        <p:nvSpPr>
          <p:cNvPr id="17" name="btfpColumnHeaderBoxText912824">
            <a:extLst>
              <a:ext uri="{FF2B5EF4-FFF2-40B4-BE49-F238E27FC236}">
                <a16:creationId xmlns:a16="http://schemas.microsoft.com/office/drawing/2014/main" id="{DD435C4E-1022-FC2C-4277-BD3560C42ABE}"/>
              </a:ext>
            </a:extLst>
          </p:cNvPr>
          <p:cNvSpPr txBox="1"/>
          <p:nvPr/>
        </p:nvSpPr>
        <p:spPr bwMode="gray">
          <a:xfrm>
            <a:off x="5546215" y="2004591"/>
            <a:ext cx="2226982" cy="257442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rgbClr val="009D2F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FUNDRAISING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A1D08FFA-02B6-AB2A-031A-AFF9924A7008}"/>
              </a:ext>
            </a:extLst>
          </p:cNvPr>
          <p:cNvSpPr/>
          <p:nvPr/>
        </p:nvSpPr>
        <p:spPr bwMode="gray">
          <a:xfrm>
            <a:off x="5546215" y="2288631"/>
            <a:ext cx="1026357" cy="58226"/>
          </a:xfrm>
          <a:prstGeom prst="roundRect">
            <a:avLst>
              <a:gd name="adj" fmla="val 44330"/>
            </a:avLst>
          </a:prstGeom>
          <a:solidFill>
            <a:srgbClr val="009D2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4059A8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MS PGothic"/>
              <a:cs typeface="+mn-cs"/>
            </a:endParaRPr>
          </a:p>
        </p:txBody>
      </p:sp>
      <p:grpSp>
        <p:nvGrpSpPr>
          <p:cNvPr id="26" name="btfpIcon186895">
            <a:extLst>
              <a:ext uri="{FF2B5EF4-FFF2-40B4-BE49-F238E27FC236}">
                <a16:creationId xmlns:a16="http://schemas.microsoft.com/office/drawing/2014/main" id="{9B57CAE1-72A6-D9D7-8B93-64DD2F76340B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6719874" y="1864132"/>
            <a:ext cx="540544" cy="540544"/>
            <a:chOff x="7795876" y="2883659"/>
            <a:chExt cx="1088103" cy="1088103"/>
          </a:xfrm>
        </p:grpSpPr>
        <p:sp>
          <p:nvSpPr>
            <p:cNvPr id="27" name="btfpIconCircle186895">
              <a:extLst>
                <a:ext uri="{FF2B5EF4-FFF2-40B4-BE49-F238E27FC236}">
                  <a16:creationId xmlns:a16="http://schemas.microsoft.com/office/drawing/2014/main" id="{9EAE8B5D-D0F2-A031-2444-F1B6616CAFC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5876" y="2883659"/>
              <a:ext cx="1088103" cy="1088103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pic>
          <p:nvPicPr>
            <p:cNvPr id="28" name="btfpIconLines186895">
              <a:extLst>
                <a:ext uri="{FF2B5EF4-FFF2-40B4-BE49-F238E27FC236}">
                  <a16:creationId xmlns:a16="http://schemas.microsoft.com/office/drawing/2014/main" id="{FDE9EB12-EE1A-AF84-858C-CDFC8431FB05}"/>
                </a:ext>
              </a:extLst>
            </p:cNvPr>
            <p:cNvPicPr>
              <a:picLocks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7795876" y="2883659"/>
              <a:ext cx="1088103" cy="1088103"/>
            </a:xfrm>
            <a:prstGeom prst="rect">
              <a:avLst/>
            </a:prstGeom>
          </p:spPr>
        </p:pic>
      </p:grpSp>
      <p:sp>
        <p:nvSpPr>
          <p:cNvPr id="36" name="btfpBulletedList698077">
            <a:extLst>
              <a:ext uri="{FF2B5EF4-FFF2-40B4-BE49-F238E27FC236}">
                <a16:creationId xmlns:a16="http://schemas.microsoft.com/office/drawing/2014/main" id="{EDC6378C-CC0D-66E7-D31D-8A23907D8FC3}"/>
              </a:ext>
            </a:extLst>
          </p:cNvPr>
          <p:cNvSpPr/>
          <p:nvPr/>
        </p:nvSpPr>
        <p:spPr bwMode="gray">
          <a:xfrm>
            <a:off x="5457888" y="2530256"/>
            <a:ext cx="2131421" cy="1705476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6D6">
                    <a:alpha val="25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1" lang="pt-BR" sz="1100" b="1" i="0" u="none" strike="noStrike" kern="1200" cap="none" spc="0" normalizeH="0" baseline="0" noProof="0">
                <a:ln>
                  <a:noFill/>
                </a:ln>
                <a:solidFill>
                  <a:srgbClr val="009739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Ações de suporte e conexões conduzidas pela BIP </a:t>
            </a:r>
            <a:r>
              <a:rPr kumimoji="1" 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com investidores selecionados (organizações soberanas, fundações, fundos climáticos, escritórios familiares, </a:t>
            </a:r>
            <a:r>
              <a:rPr kumimoji="1" lang="pt-BR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MDBs</a:t>
            </a:r>
            <a:r>
              <a:rPr kumimoji="1" 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, empresas, etc.)</a:t>
            </a:r>
          </a:p>
        </p:txBody>
      </p:sp>
      <p:sp>
        <p:nvSpPr>
          <p:cNvPr id="78" name="btfpBulletedList698077">
            <a:extLst>
              <a:ext uri="{FF2B5EF4-FFF2-40B4-BE49-F238E27FC236}">
                <a16:creationId xmlns:a16="http://schemas.microsoft.com/office/drawing/2014/main" id="{A87E1E2D-B54A-1FFE-FBBD-8ED27CF06C81}"/>
              </a:ext>
            </a:extLst>
          </p:cNvPr>
          <p:cNvSpPr/>
          <p:nvPr/>
        </p:nvSpPr>
        <p:spPr bwMode="gray">
          <a:xfrm>
            <a:off x="5457888" y="4161223"/>
            <a:ext cx="2131422" cy="298985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6D6">
                    <a:alpha val="25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177800" algn="l" defTabSz="711200" rtl="0" eaLnBrk="0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1" lang="pt-BR" sz="1100" b="1" i="0" u="none" strike="noStrike" kern="1200" cap="none" spc="0" normalizeH="0" baseline="0" noProof="0" dirty="0">
                <a:ln>
                  <a:noFill/>
                </a:ln>
                <a:solidFill>
                  <a:srgbClr val="009739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Inclusão</a:t>
            </a:r>
            <a:r>
              <a:rPr kumimoji="1" 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 do mecanismo no </a:t>
            </a:r>
            <a:r>
              <a:rPr kumimoji="1" lang="pt-BR" sz="1100" b="1" i="0" u="none" strike="noStrike" kern="1200" cap="none" spc="0" normalizeH="0" baseline="0" noProof="0" dirty="0">
                <a:ln>
                  <a:noFill/>
                </a:ln>
                <a:solidFill>
                  <a:srgbClr val="009739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site/materiais</a:t>
            </a:r>
            <a:r>
              <a:rPr kumimoji="1" 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 da BIP</a:t>
            </a:r>
          </a:p>
          <a:p>
            <a:pPr marL="177800" marR="0" lvl="0" indent="-177800" algn="l" defTabSz="711200" rtl="0" eaLnBrk="0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1" 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Apoio à elaboração de </a:t>
            </a:r>
            <a:r>
              <a:rPr kumimoji="1" lang="pt-BR" sz="1100" b="1" i="0" u="none" strike="noStrike" kern="1200" cap="none" spc="0" normalizeH="0" baseline="0" noProof="0" dirty="0">
                <a:ln>
                  <a:noFill/>
                </a:ln>
                <a:solidFill>
                  <a:srgbClr val="009739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materiais de apresentação do mecanismo</a:t>
            </a:r>
          </a:p>
          <a:p>
            <a:pPr marL="177800" marR="0" lvl="0" indent="-177800" algn="l" defTabSz="711200" rtl="0" eaLnBrk="0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1" lang="pt-BR" sz="1100" b="1" i="0" u="none" strike="noStrike" kern="1200" cap="none" spc="0" normalizeH="0" baseline="0" noProof="0" dirty="0">
                <a:ln>
                  <a:noFill/>
                </a:ln>
                <a:solidFill>
                  <a:srgbClr val="009739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Reuniões </a:t>
            </a:r>
            <a:r>
              <a:rPr kumimoji="1" lang="pt-BR" sz="1100" b="1" i="1" u="none" strike="noStrike" kern="1200" cap="none" spc="0" normalizeH="0" baseline="0" noProof="0" dirty="0">
                <a:ln>
                  <a:noFill/>
                </a:ln>
                <a:solidFill>
                  <a:srgbClr val="009739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ad hoc</a:t>
            </a:r>
            <a:r>
              <a:rPr kumimoji="1" lang="pt-BR" sz="1100" b="1" i="0" u="none" strike="noStrike" kern="1200" cap="none" spc="0" normalizeH="0" baseline="0" noProof="0" dirty="0">
                <a:ln>
                  <a:noFill/>
                </a:ln>
                <a:solidFill>
                  <a:srgbClr val="009739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 com investidores </a:t>
            </a:r>
            <a:r>
              <a:rPr kumimoji="1" 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para apresentação de mecanismos selecionados</a:t>
            </a:r>
          </a:p>
          <a:p>
            <a:pPr marL="177800" marR="0" lvl="0" indent="-177800" algn="l" defTabSz="711200" rtl="0" eaLnBrk="0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1" lang="pt-BR" sz="1100" b="1" i="0" u="none" strike="noStrike" kern="1200" cap="none" spc="0" normalizeH="0" baseline="0" noProof="0" dirty="0">
                <a:ln>
                  <a:noFill/>
                </a:ln>
                <a:solidFill>
                  <a:srgbClr val="009739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Conexão direta de investidores interessados </a:t>
            </a:r>
            <a:r>
              <a:rPr kumimoji="1" 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com mecanismos</a:t>
            </a:r>
          </a:p>
        </p:txBody>
      </p:sp>
      <p:sp>
        <p:nvSpPr>
          <p:cNvPr id="99" name="btfpBulletedList671079">
            <a:extLst>
              <a:ext uri="{FF2B5EF4-FFF2-40B4-BE49-F238E27FC236}">
                <a16:creationId xmlns:a16="http://schemas.microsoft.com/office/drawing/2014/main" id="{3B525379-4B46-6CCA-8498-36EEF0F99CB3}"/>
              </a:ext>
            </a:extLst>
          </p:cNvPr>
          <p:cNvSpPr/>
          <p:nvPr/>
        </p:nvSpPr>
        <p:spPr bwMode="gray">
          <a:xfrm>
            <a:off x="9840672" y="2482509"/>
            <a:ext cx="1997362" cy="114445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6D6">
                    <a:alpha val="25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1" 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Potencial para </a:t>
            </a:r>
            <a:r>
              <a:rPr kumimoji="1" lang="pt-BR" sz="1100" b="1" i="0" u="none" strike="noStrike" kern="1200" cap="none" spc="0" normalizeH="0" baseline="0" noProof="0">
                <a:ln>
                  <a:noFill/>
                </a:ln>
                <a:solidFill>
                  <a:srgbClr val="640A4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inclusão de projetos beneficiados pelos mecanismos no pipeline</a:t>
            </a:r>
            <a:r>
              <a:rPr kumimoji="1" 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 da BIP²</a:t>
            </a:r>
            <a:endParaRPr kumimoji="1" lang="pt-BR" sz="1100" b="1" i="0" u="none" strike="noStrike" kern="1200" cap="none" spc="0" normalizeH="0" baseline="3000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MS PGothic"/>
              <a:cs typeface="+mn-cs"/>
            </a:endParaRPr>
          </a:p>
        </p:txBody>
      </p:sp>
      <p:sp>
        <p:nvSpPr>
          <p:cNvPr id="100" name="btfpBulletedList398057">
            <a:extLst>
              <a:ext uri="{FF2B5EF4-FFF2-40B4-BE49-F238E27FC236}">
                <a16:creationId xmlns:a16="http://schemas.microsoft.com/office/drawing/2014/main" id="{28947D37-44DD-6EE9-CF44-2D37203879FA}"/>
              </a:ext>
            </a:extLst>
          </p:cNvPr>
          <p:cNvSpPr/>
          <p:nvPr/>
        </p:nvSpPr>
        <p:spPr bwMode="gray">
          <a:xfrm>
            <a:off x="9840672" y="4161223"/>
            <a:ext cx="1997362" cy="161197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6D6">
                    <a:alpha val="25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177800" algn="l" defTabSz="914400" rtl="0" eaLnBrk="0" fontAlgn="base" latinLnBrk="0" hangingPunc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pt-BR" altLang="pt-BR" sz="1100" b="1" i="0" u="none" strike="noStrike" kern="1200" cap="none" spc="0" normalizeH="0" baseline="0" noProof="0">
                <a:ln>
                  <a:noFill/>
                </a:ln>
                <a:solidFill>
                  <a:srgbClr val="640A4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Apresentações de projetos para </a:t>
            </a:r>
            <a:r>
              <a:rPr kumimoji="0" lang="pt-BR" altLang="pt-BR" sz="1100" b="1" i="0" u="none" strike="noStrike" kern="1200" cap="none" spc="0" normalizeH="0" baseline="0" noProof="0" err="1">
                <a:ln>
                  <a:noFill/>
                </a:ln>
                <a:solidFill>
                  <a:srgbClr val="640A4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IFs</a:t>
            </a:r>
            <a:r>
              <a:rPr kumimoji="0" lang="pt-BR" altLang="pt-BR" sz="1100" b="1" i="0" u="none" strike="noStrike" kern="1200" cap="none" spc="0" normalizeH="0" baseline="0" noProof="0">
                <a:ln>
                  <a:noFill/>
                </a:ln>
                <a:solidFill>
                  <a:srgbClr val="640A4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 </a:t>
            </a:r>
            <a:r>
              <a:rPr kumimoji="0" lang="pt-BR" alt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organizadas pela BIP</a:t>
            </a:r>
          </a:p>
          <a:p>
            <a:pPr marL="177800" marR="0" lvl="0" indent="-177800" algn="l" defTabSz="914400" rtl="0" eaLnBrk="0" fontAlgn="base" latinLnBrk="0" hangingPunc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pt-BR" altLang="pt-BR" sz="1100" b="1" i="0" u="none" strike="noStrike" kern="1200" cap="none" spc="0" normalizeH="0" baseline="0" noProof="0">
                <a:ln>
                  <a:noFill/>
                </a:ln>
                <a:solidFill>
                  <a:srgbClr val="640A4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Conexão direta com </a:t>
            </a:r>
            <a:r>
              <a:rPr kumimoji="0" lang="pt-BR" altLang="pt-BR" sz="1100" b="1" i="0" u="none" strike="noStrike" kern="1200" cap="none" spc="0" normalizeH="0" baseline="0" noProof="0" err="1">
                <a:ln>
                  <a:noFill/>
                </a:ln>
                <a:solidFill>
                  <a:srgbClr val="640A4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IFs</a:t>
            </a:r>
            <a:r>
              <a:rPr kumimoji="0" lang="pt-BR" altLang="pt-BR" sz="1100" b="1" i="0" u="none" strike="noStrike" kern="1200" cap="none" spc="0" normalizeH="0" baseline="0" noProof="0">
                <a:ln>
                  <a:noFill/>
                </a:ln>
                <a:solidFill>
                  <a:srgbClr val="640A4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 </a:t>
            </a:r>
            <a:r>
              <a:rPr kumimoji="0" lang="pt-BR" altLang="pt-B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interessadas</a:t>
            </a:r>
          </a:p>
        </p:txBody>
      </p:sp>
      <p:sp>
        <p:nvSpPr>
          <p:cNvPr id="101" name="btfpColumnHeaderBoxText912824">
            <a:extLst>
              <a:ext uri="{FF2B5EF4-FFF2-40B4-BE49-F238E27FC236}">
                <a16:creationId xmlns:a16="http://schemas.microsoft.com/office/drawing/2014/main" id="{806D6257-746E-5594-E985-C709045CF520}"/>
              </a:ext>
            </a:extLst>
          </p:cNvPr>
          <p:cNvSpPr txBox="1"/>
          <p:nvPr/>
        </p:nvSpPr>
        <p:spPr bwMode="gray">
          <a:xfrm>
            <a:off x="9840672" y="1877075"/>
            <a:ext cx="1997362" cy="442108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rgbClr val="640A4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INCLUSÃO DE </a:t>
            </a:r>
            <a:b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rgbClr val="640A4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</a:b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rgbClr val="640A4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PROJETOS NA BIP</a:t>
            </a: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1D7A61CC-FD53-B171-425E-BD1FACA7FC1C}"/>
              </a:ext>
            </a:extLst>
          </p:cNvPr>
          <p:cNvSpPr/>
          <p:nvPr/>
        </p:nvSpPr>
        <p:spPr bwMode="gray">
          <a:xfrm>
            <a:off x="9840672" y="2345781"/>
            <a:ext cx="1026357" cy="58226"/>
          </a:xfrm>
          <a:prstGeom prst="roundRect">
            <a:avLst>
              <a:gd name="adj" fmla="val 44330"/>
            </a:avLst>
          </a:prstGeom>
          <a:solidFill>
            <a:srgbClr val="640A40"/>
          </a:solidFill>
          <a:ln w="9525" cap="flat" cmpd="sng" algn="ctr">
            <a:solidFill>
              <a:srgbClr val="640A4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MS PGothic"/>
              <a:cs typeface="+mn-cs"/>
            </a:endParaRPr>
          </a:p>
        </p:txBody>
      </p:sp>
      <p:grpSp>
        <p:nvGrpSpPr>
          <p:cNvPr id="242" name="btfpIcon902227">
            <a:extLst>
              <a:ext uri="{FF2B5EF4-FFF2-40B4-BE49-F238E27FC236}">
                <a16:creationId xmlns:a16="http://schemas.microsoft.com/office/drawing/2014/main" id="{98688A25-5AD5-BB3A-C785-7299D99B9E0D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11296798" y="1864132"/>
            <a:ext cx="540544" cy="540544"/>
            <a:chOff x="11296798" y="1864132"/>
            <a:chExt cx="540544" cy="540544"/>
          </a:xfrm>
        </p:grpSpPr>
        <p:sp>
          <p:nvSpPr>
            <p:cNvPr id="241" name="btfpIconCircle902227">
              <a:extLst>
                <a:ext uri="{FF2B5EF4-FFF2-40B4-BE49-F238E27FC236}">
                  <a16:creationId xmlns:a16="http://schemas.microsoft.com/office/drawing/2014/main" id="{54B2A079-6140-9497-B381-C4D039DBAC84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96798" y="1864132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pic>
          <p:nvPicPr>
            <p:cNvPr id="240" name="btfpIconLines902227">
              <a:extLst>
                <a:ext uri="{FF2B5EF4-FFF2-40B4-BE49-F238E27FC236}">
                  <a16:creationId xmlns:a16="http://schemas.microsoft.com/office/drawing/2014/main" id="{CBCCD394-B685-3493-F3E7-F7706EB009E9}"/>
                </a:ext>
              </a:extLst>
            </p:cNvPr>
            <p:cNvPicPr>
              <a:picLocks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11296798" y="1864132"/>
              <a:ext cx="540544" cy="540544"/>
            </a:xfrm>
            <a:prstGeom prst="rect">
              <a:avLst/>
            </a:prstGeom>
          </p:spPr>
        </p:pic>
      </p:grpSp>
      <p:sp>
        <p:nvSpPr>
          <p:cNvPr id="233" name="Rectangle: Diagonal Corners Rounded 232">
            <a:extLst>
              <a:ext uri="{FF2B5EF4-FFF2-40B4-BE49-F238E27FC236}">
                <a16:creationId xmlns:a16="http://schemas.microsoft.com/office/drawing/2014/main" id="{33E40478-45AC-8F57-3CF1-A67B0CB68D09}"/>
              </a:ext>
            </a:extLst>
          </p:cNvPr>
          <p:cNvSpPr/>
          <p:nvPr/>
        </p:nvSpPr>
        <p:spPr bwMode="gray">
          <a:xfrm>
            <a:off x="7716310" y="1307868"/>
            <a:ext cx="1997362" cy="479676"/>
          </a:xfrm>
          <a:prstGeom prst="round2DiagRect">
            <a:avLst/>
          </a:prstGeom>
          <a:solidFill>
            <a:srgbClr val="104C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1216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144000" tIns="108000" rIns="144000" bIns="108000" anchor="ctr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Acesso a projeto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7575F20-819D-EE43-BA36-0EA1F0BE01FA}"/>
              </a:ext>
            </a:extLst>
          </p:cNvPr>
          <p:cNvSpPr/>
          <p:nvPr/>
        </p:nvSpPr>
        <p:spPr bwMode="gray">
          <a:xfrm>
            <a:off x="222421" y="3250156"/>
            <a:ext cx="872815" cy="506345"/>
          </a:xfrm>
          <a:prstGeom prst="rect">
            <a:avLst/>
          </a:prstGeom>
          <a:solidFill>
            <a:srgbClr val="104C3E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pt-B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Proposta de valo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165031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E2A440-AB4A-25B4-FDD8-81BB5B482F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8" name="think-cell data - do not delete" hidden="1">
            <a:extLst>
              <a:ext uri="{FF2B5EF4-FFF2-40B4-BE49-F238E27FC236}">
                <a16:creationId xmlns:a16="http://schemas.microsoft.com/office/drawing/2014/main" id="{BD6BEC9B-800A-812F-4757-4393C5AEC5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4155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1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6BEC9B-800A-812F-4757-4393C5AEC5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tangle 162">
            <a:extLst>
              <a:ext uri="{FF2B5EF4-FFF2-40B4-BE49-F238E27FC236}">
                <a16:creationId xmlns:a16="http://schemas.microsoft.com/office/drawing/2014/main" id="{6A5B75B0-E5E9-6FB4-CD57-0A2FE1B692C9}"/>
              </a:ext>
            </a:extLst>
          </p:cNvPr>
          <p:cNvSpPr/>
          <p:nvPr/>
        </p:nvSpPr>
        <p:spPr bwMode="gray">
          <a:xfrm>
            <a:off x="140378" y="6156024"/>
            <a:ext cx="11549921" cy="628821"/>
          </a:xfrm>
          <a:prstGeom prst="rect">
            <a:avLst/>
          </a:prstGeom>
          <a:solidFill>
            <a:schemeClr val="l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dk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pt-BR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S PGothic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F16D9C7B-DCF3-FEB0-30CC-97EEC0745147}"/>
              </a:ext>
            </a:extLst>
          </p:cNvPr>
          <p:cNvSpPr/>
          <p:nvPr/>
        </p:nvSpPr>
        <p:spPr bwMode="gray">
          <a:xfrm>
            <a:off x="140377" y="902195"/>
            <a:ext cx="11549921" cy="4430693"/>
          </a:xfrm>
          <a:prstGeom prst="rect">
            <a:avLst/>
          </a:prstGeom>
          <a:solidFill>
            <a:srgbClr val="D6D6D6">
              <a:alpha val="50000"/>
            </a:srgb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pt-BR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S PGothic"/>
              <a:cs typeface="+mn-cs"/>
            </a:endParaRPr>
          </a:p>
        </p:txBody>
      </p:sp>
      <p:grpSp>
        <p:nvGrpSpPr>
          <p:cNvPr id="31" name="btfpColumnIndicatorGroup2">
            <a:extLst>
              <a:ext uri="{FF2B5EF4-FFF2-40B4-BE49-F238E27FC236}">
                <a16:creationId xmlns:a16="http://schemas.microsoft.com/office/drawing/2014/main" id="{17726E2B-8CBD-F068-1BC0-7C3853DA360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9" name="btfpColumnGapBlocker192962">
              <a:extLst>
                <a:ext uri="{FF2B5EF4-FFF2-40B4-BE49-F238E27FC236}">
                  <a16:creationId xmlns:a16="http://schemas.microsoft.com/office/drawing/2014/main" id="{31C5D780-A08C-162D-1275-AB9C8570BBB6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sp>
          <p:nvSpPr>
            <p:cNvPr id="27" name="btfpColumnGapBlocker918700">
              <a:extLst>
                <a:ext uri="{FF2B5EF4-FFF2-40B4-BE49-F238E27FC236}">
                  <a16:creationId xmlns:a16="http://schemas.microsoft.com/office/drawing/2014/main" id="{2AC0FF21-DAE2-95D7-45FD-CC485A11165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cxnSp>
          <p:nvCxnSpPr>
            <p:cNvPr id="25" name="btfpColumnIndicator690465">
              <a:extLst>
                <a:ext uri="{FF2B5EF4-FFF2-40B4-BE49-F238E27FC236}">
                  <a16:creationId xmlns:a16="http://schemas.microsoft.com/office/drawing/2014/main" id="{C1658E19-ECBD-7EE2-1912-F5BB62076C8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btfpColumnIndicator918487">
              <a:extLst>
                <a:ext uri="{FF2B5EF4-FFF2-40B4-BE49-F238E27FC236}">
                  <a16:creationId xmlns:a16="http://schemas.microsoft.com/office/drawing/2014/main" id="{85A5D9C0-5F13-9C86-AE3D-D90BF096743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btfpColumnIndicatorGroup1">
            <a:extLst>
              <a:ext uri="{FF2B5EF4-FFF2-40B4-BE49-F238E27FC236}">
                <a16:creationId xmlns:a16="http://schemas.microsoft.com/office/drawing/2014/main" id="{08F7A2C8-CDB9-8E02-9789-51B29423511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8" name="btfpColumnGapBlocker166570">
              <a:extLst>
                <a:ext uri="{FF2B5EF4-FFF2-40B4-BE49-F238E27FC236}">
                  <a16:creationId xmlns:a16="http://schemas.microsoft.com/office/drawing/2014/main" id="{6C829762-0EB0-6C47-85B9-58F6395847B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sp>
          <p:nvSpPr>
            <p:cNvPr id="26" name="btfpColumnGapBlocker936511">
              <a:extLst>
                <a:ext uri="{FF2B5EF4-FFF2-40B4-BE49-F238E27FC236}">
                  <a16:creationId xmlns:a16="http://schemas.microsoft.com/office/drawing/2014/main" id="{B92B1840-B012-36CA-5DF4-1D88BF59EE5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endParaRPr>
            </a:p>
          </p:txBody>
        </p:sp>
        <p:cxnSp>
          <p:nvCxnSpPr>
            <p:cNvPr id="24" name="btfpColumnIndicator894042">
              <a:extLst>
                <a:ext uri="{FF2B5EF4-FFF2-40B4-BE49-F238E27FC236}">
                  <a16:creationId xmlns:a16="http://schemas.microsoft.com/office/drawing/2014/main" id="{224611A5-81F2-F78B-2A8B-D9F405910751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536731">
              <a:extLst>
                <a:ext uri="{FF2B5EF4-FFF2-40B4-BE49-F238E27FC236}">
                  <a16:creationId xmlns:a16="http://schemas.microsoft.com/office/drawing/2014/main" id="{AE46AE0E-DA87-BFB2-3300-A44B13EC458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AA97298-87C2-3C36-FBA7-B7FBE0EFCB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pt-BR" dirty="0"/>
              <a:t>Critérios para mecanismos concessionais entrarem na Plataforma </a:t>
            </a:r>
          </a:p>
        </p:txBody>
      </p:sp>
      <p:sp>
        <p:nvSpPr>
          <p:cNvPr id="140" name="btfpNotesBox394997">
            <a:extLst>
              <a:ext uri="{FF2B5EF4-FFF2-40B4-BE49-F238E27FC236}">
                <a16:creationId xmlns:a16="http://schemas.microsoft.com/office/drawing/2014/main" id="{A0FC2CC5-40B9-277E-4D69-F2A5EED2687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58699" y="6690062"/>
            <a:ext cx="11531600" cy="12311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pt-B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t>Nota: (1) Deve ser previsto no regulamento do mecanismo. Caso seja regulamento interno, o mesmo deverá ser compartilhado para avaliação da BIP; (2) Para soluções de NBS, critérios de exclusão adicionais podem ser solicitados</a:t>
            </a:r>
          </a:p>
        </p:txBody>
      </p:sp>
      <p:graphicFrame>
        <p:nvGraphicFramePr>
          <p:cNvPr id="13" name="btfpTable974361">
            <a:extLst>
              <a:ext uri="{FF2B5EF4-FFF2-40B4-BE49-F238E27FC236}">
                <a16:creationId xmlns:a16="http://schemas.microsoft.com/office/drawing/2014/main" id="{EB4201E1-2EA4-AF9B-36B1-D3881BC3C9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08287270"/>
              </p:ext>
            </p:extLst>
          </p:nvPr>
        </p:nvGraphicFramePr>
        <p:xfrm>
          <a:off x="158699" y="892955"/>
          <a:ext cx="11531600" cy="5778484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406976">
                  <a:extLst>
                    <a:ext uri="{9D8B030D-6E8A-4147-A177-3AD203B41FA5}">
                      <a16:colId xmlns:a16="http://schemas.microsoft.com/office/drawing/2014/main" val="426971070"/>
                    </a:ext>
                  </a:extLst>
                </a:gridCol>
                <a:gridCol w="2621875">
                  <a:extLst>
                    <a:ext uri="{9D8B030D-6E8A-4147-A177-3AD203B41FA5}">
                      <a16:colId xmlns:a16="http://schemas.microsoft.com/office/drawing/2014/main" val="1373853814"/>
                    </a:ext>
                  </a:extLst>
                </a:gridCol>
                <a:gridCol w="8502749">
                  <a:extLst>
                    <a:ext uri="{9D8B030D-6E8A-4147-A177-3AD203B41FA5}">
                      <a16:colId xmlns:a16="http://schemas.microsoft.com/office/drawing/2014/main" val="914116504"/>
                    </a:ext>
                  </a:extLst>
                </a:gridCol>
              </a:tblGrid>
              <a:tr h="419031">
                <a:tc rowSpan="6"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pt-BR" sz="1100" b="0">
                          <a:solidFill>
                            <a:srgbClr val="183EFF"/>
                          </a:solidFill>
                        </a:rPr>
                        <a:t>Parâmetros mínimos</a:t>
                      </a:r>
                    </a:p>
                  </a:txBody>
                  <a:tcPr marL="72000" marR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pt-BR" sz="1200" b="1">
                          <a:solidFill>
                            <a:srgbClr val="FFFFFF"/>
                          </a:solidFill>
                        </a:rPr>
                        <a:t>Fas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83EFF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600"/>
                        </a:spcBef>
                      </a:pPr>
                      <a:r>
                        <a:rPr lang="pt-BR" sz="1100"/>
                        <a:t>Mecanismos em </a:t>
                      </a:r>
                      <a:r>
                        <a:rPr lang="pt-BR" sz="1100" b="1"/>
                        <a:t>fase de estruturação</a:t>
                      </a:r>
                      <a:r>
                        <a:rPr lang="pt-BR" sz="1100"/>
                        <a:t> (após concluída a ideação) ou em </a:t>
                      </a:r>
                      <a:r>
                        <a:rPr lang="pt-BR" sz="1100" b="1"/>
                        <a:t>fase de captação</a:t>
                      </a:r>
                      <a:r>
                        <a:rPr lang="pt-BR" sz="1100" b="0"/>
                        <a:t>, desde que não ultrapasse o limite de até 24 meses após a constituição</a:t>
                      </a: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8670538"/>
                  </a:ext>
                </a:extLst>
              </a:tr>
              <a:tr h="1167299">
                <a:tc v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pt-BR" sz="1100">
                        <a:solidFill>
                          <a:srgbClr val="000000"/>
                        </a:solidFill>
                      </a:endParaRPr>
                    </a:p>
                  </a:txBody>
                  <a:tcPr marL="72000" marR="0">
                    <a:lnL>
                      <a:noFill/>
                    </a:lnL>
                    <a:lnR>
                      <a:noFill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pt-BR" sz="1200" b="1">
                          <a:solidFill>
                            <a:srgbClr val="FFFFFF"/>
                          </a:solidFill>
                        </a:rPr>
                        <a:t>Robustez do mecanism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83EFF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600"/>
                        </a:spcBef>
                      </a:pPr>
                      <a:r>
                        <a:rPr lang="pt-BR" sz="1100" dirty="0"/>
                        <a:t>O mecanismo deve </a:t>
                      </a:r>
                      <a:r>
                        <a:rPr lang="pt-BR" sz="1100" b="1" dirty="0"/>
                        <a:t>atender a todos os critérios de robustez</a:t>
                      </a:r>
                      <a:r>
                        <a:rPr lang="pt-BR" sz="1100" dirty="0"/>
                        <a:t> abaixo:</a:t>
                      </a:r>
                    </a:p>
                    <a:p>
                      <a:pPr marL="355600" lvl="1" indent="-177800">
                        <a:spcBef>
                          <a:spcPts val="0"/>
                        </a:spcBef>
                      </a:pPr>
                      <a:r>
                        <a:rPr lang="pt-BR" sz="900" dirty="0"/>
                        <a:t>Gestora/proponente ou investidor âncora com histórico de resultados condizentes com o mecanismo proposto, demonstrando </a:t>
                      </a:r>
                      <a:r>
                        <a:rPr lang="pt-BR" sz="900" b="1" dirty="0"/>
                        <a:t>aporte técnico </a:t>
                      </a:r>
                      <a:r>
                        <a:rPr lang="pt-BR" sz="900" dirty="0"/>
                        <a:t>relevante ao desenvolvimento </a:t>
                      </a:r>
                      <a:r>
                        <a:rPr lang="pt-BR" sz="900" b="1" dirty="0"/>
                        <a:t>e comprometimento financeiro indicativo</a:t>
                      </a:r>
                      <a:r>
                        <a:rPr lang="pt-BR" sz="900" dirty="0"/>
                        <a:t>, por meio de declarações ou instrumentos equivalentes</a:t>
                      </a:r>
                    </a:p>
                    <a:p>
                      <a:pPr marL="355600" lvl="1" indent="-177800">
                        <a:spcBef>
                          <a:spcPts val="0"/>
                        </a:spcBef>
                      </a:pPr>
                      <a:r>
                        <a:rPr lang="pt-BR" sz="900" b="1" dirty="0"/>
                        <a:t>Alto potencial de impacto </a:t>
                      </a:r>
                      <a:r>
                        <a:rPr lang="pt-BR" sz="900" dirty="0"/>
                        <a:t>transformador </a:t>
                      </a:r>
                      <a:r>
                        <a:rPr lang="pt-BR" sz="900" dirty="0">
                          <a:solidFill>
                            <a:schemeClr val="tx1"/>
                          </a:solidFill>
                        </a:rPr>
                        <a:t>em pelo menos 1 dos setores prioritários da BIP</a:t>
                      </a:r>
                      <a:r>
                        <a:rPr lang="pt-BR" sz="900" dirty="0"/>
                        <a:t>, com previsão de elaboração de relatório público de monitoramento de impacto, com frequência mínima anual, abrangendo indicadores sociais, ambientais e climáticos dos projetos beneficiados de forma individual ou agregada</a:t>
                      </a:r>
                    </a:p>
                    <a:p>
                      <a:pPr lvl="1">
                        <a:spcBef>
                          <a:spcPts val="0"/>
                        </a:spcBef>
                      </a:pPr>
                      <a:r>
                        <a:rPr lang="pt-BR" sz="900" b="1" dirty="0"/>
                        <a:t>Ausência de processos </a:t>
                      </a:r>
                      <a:r>
                        <a:rPr lang="pt-BR" sz="900" dirty="0"/>
                        <a:t>ou controvérsias relevantes (regulatórias, ambientais, trabalhistas, reputacionais)</a:t>
                      </a:r>
                    </a:p>
                    <a:p>
                      <a:pPr>
                        <a:spcBef>
                          <a:spcPts val="600"/>
                        </a:spcBef>
                      </a:pPr>
                      <a:r>
                        <a:rPr lang="pt-BR" sz="1100" dirty="0"/>
                        <a:t>Mecanismos em fase de captação devem, adicionalmente, possuir </a:t>
                      </a:r>
                      <a:r>
                        <a:rPr lang="pt-BR" sz="1100" b="1" dirty="0"/>
                        <a:t>estrutura financeira condizente com o desafio proposto</a:t>
                      </a: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601253"/>
                  </a:ext>
                </a:extLst>
              </a:tr>
              <a:tr h="406384">
                <a:tc v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pt-BR" sz="1100">
                        <a:solidFill>
                          <a:srgbClr val="000000"/>
                        </a:solidFill>
                      </a:endParaRPr>
                    </a:p>
                  </a:txBody>
                  <a:tcPr marL="72000" marR="0">
                    <a:lnL>
                      <a:noFill/>
                    </a:lnL>
                    <a:lnR>
                      <a:noFill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pt-BR" sz="1200" b="1">
                          <a:solidFill>
                            <a:srgbClr val="FFFFFF"/>
                          </a:solidFill>
                        </a:rPr>
                        <a:t>Requisitos de investiment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83EFF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600"/>
                        </a:spcBef>
                      </a:pPr>
                      <a:r>
                        <a:rPr lang="pt-BR" sz="1100"/>
                        <a:t>O mecanismo deve possuir pelo menos </a:t>
                      </a:r>
                      <a:r>
                        <a:rPr lang="pt-BR" sz="1100" b="1"/>
                        <a:t>USD 10M em Patrimônio Comprometido Alvo (NBS) ou USD 20M (Indústria e Energia)</a:t>
                      </a: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4709412"/>
                  </a:ext>
                </a:extLst>
              </a:tr>
              <a:tr h="1316953">
                <a:tc v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pt-BR" sz="1100">
                        <a:solidFill>
                          <a:srgbClr val="000000"/>
                        </a:solidFill>
                      </a:endParaRPr>
                    </a:p>
                  </a:txBody>
                  <a:tcPr marL="72000" marR="0">
                    <a:lnL>
                      <a:noFill/>
                    </a:lnL>
                    <a:lnR>
                      <a:noFill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pt-BR" sz="1200" b="1">
                          <a:solidFill>
                            <a:srgbClr val="FFFFFF"/>
                          </a:solidFill>
                        </a:rPr>
                        <a:t>Natureza do mecanism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83EFF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300"/>
                        </a:spcBef>
                      </a:pPr>
                      <a:r>
                        <a:rPr lang="pt-BR" sz="1100">
                          <a:solidFill>
                            <a:schemeClr val="tx1"/>
                          </a:solidFill>
                        </a:rPr>
                        <a:t>O mecanismo deve ser um </a:t>
                      </a:r>
                      <a:r>
                        <a:rPr lang="pt-BR" sz="1100" b="1">
                          <a:solidFill>
                            <a:schemeClr val="tx1"/>
                          </a:solidFill>
                        </a:rPr>
                        <a:t>instrumento financeiro</a:t>
                      </a:r>
                      <a:r>
                        <a:rPr lang="pt-BR" sz="1100" b="0">
                          <a:solidFill>
                            <a:schemeClr val="tx1"/>
                          </a:solidFill>
                        </a:rPr>
                        <a:t> (podendo ofertar, entre outras soluções, crédito ou garantia) com</a:t>
                      </a:r>
                      <a:r>
                        <a:rPr lang="pt-BR" sz="1100">
                          <a:solidFill>
                            <a:schemeClr val="tx1"/>
                          </a:solidFill>
                        </a:rPr>
                        <a:t> um componente de </a:t>
                      </a:r>
                      <a:r>
                        <a:rPr lang="pt-BR" sz="1100" b="1" err="1">
                          <a:solidFill>
                            <a:schemeClr val="tx1"/>
                          </a:solidFill>
                        </a:rPr>
                        <a:t>concessionalidade</a:t>
                      </a:r>
                      <a:r>
                        <a:rPr lang="pt-BR" sz="1100" b="1">
                          <a:solidFill>
                            <a:schemeClr val="tx1"/>
                          </a:solidFill>
                        </a:rPr>
                        <a:t> em relação às condições usuais de mercado em seus investimentos </a:t>
                      </a:r>
                      <a:r>
                        <a:rPr lang="pt-BR" sz="1100">
                          <a:solidFill>
                            <a:schemeClr val="tx1"/>
                          </a:solidFill>
                        </a:rPr>
                        <a:t>(ex.: </a:t>
                      </a:r>
                      <a:r>
                        <a:rPr lang="pt-BR" sz="1100" err="1">
                          <a:solidFill>
                            <a:schemeClr val="tx1"/>
                          </a:solidFill>
                        </a:rPr>
                        <a:t>concessionalidade</a:t>
                      </a:r>
                      <a:r>
                        <a:rPr lang="pt-BR" sz="1100">
                          <a:solidFill>
                            <a:schemeClr val="tx1"/>
                          </a:solidFill>
                        </a:rPr>
                        <a:t> de acesso, risco, taxa ou prazo)</a:t>
                      </a:r>
                    </a:p>
                    <a:p>
                      <a:pPr marL="177800" indent="-177800">
                        <a:spcBef>
                          <a:spcPts val="300"/>
                        </a:spcBef>
                      </a:pPr>
                      <a:r>
                        <a:rPr lang="pt-BR" sz="1100">
                          <a:solidFill>
                            <a:schemeClr val="tx1"/>
                          </a:solidFill>
                        </a:rPr>
                        <a:t>O instrumento deve estar </a:t>
                      </a:r>
                      <a:r>
                        <a:rPr lang="pt-BR" sz="1100" b="1">
                          <a:solidFill>
                            <a:schemeClr val="tx1"/>
                          </a:solidFill>
                        </a:rPr>
                        <a:t>registrado ou declarar comprometimento com registro na CVM</a:t>
                      </a:r>
                      <a:r>
                        <a:rPr lang="pt-BR" sz="1100">
                          <a:solidFill>
                            <a:schemeClr val="tx1"/>
                          </a:solidFill>
                        </a:rPr>
                        <a:t>, indicando sob qual instrumento pretende operar</a:t>
                      </a:r>
                    </a:p>
                    <a:p>
                      <a:pPr marL="177800" indent="-177800">
                        <a:spcBef>
                          <a:spcPts val="300"/>
                        </a:spcBef>
                      </a:pPr>
                      <a:r>
                        <a:rPr lang="pt-BR" sz="1100" strike="noStrike">
                          <a:solidFill>
                            <a:schemeClr val="tx1"/>
                          </a:solidFill>
                        </a:rPr>
                        <a:t>O mecanismo deve oferecer </a:t>
                      </a:r>
                      <a:r>
                        <a:rPr lang="pt-BR" sz="1100" b="1" strike="noStrike">
                          <a:solidFill>
                            <a:schemeClr val="tx1"/>
                          </a:solidFill>
                        </a:rPr>
                        <a:t>diversificação de exposição</a:t>
                      </a:r>
                      <a:r>
                        <a:rPr lang="pt-BR" sz="1100" strike="noStrike">
                          <a:solidFill>
                            <a:schemeClr val="tx1"/>
                          </a:solidFill>
                        </a:rPr>
                        <a:t>, sendo vetados instrumentos dedicados a um único projeto ou empresa, exceto sociedades cooperativas e cadeias de fornecedores</a:t>
                      </a: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144780"/>
                  </a:ext>
                </a:extLst>
              </a:tr>
              <a:tr h="523788">
                <a:tc v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pt-BR" sz="1100">
                        <a:solidFill>
                          <a:srgbClr val="000000"/>
                        </a:solidFill>
                      </a:endParaRPr>
                    </a:p>
                  </a:txBody>
                  <a:tcPr marL="72000" marR="0">
                    <a:lnL>
                      <a:noFill/>
                    </a:lnL>
                    <a:lnR>
                      <a:noFill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pt-BR" sz="1200" b="1">
                          <a:solidFill>
                            <a:srgbClr val="FFFFFF"/>
                          </a:solidFill>
                        </a:rPr>
                        <a:t>Restrições setoriai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83EFF"/>
                    </a:solidFill>
                  </a:tcPr>
                </a:tc>
                <a:tc>
                  <a:txBody>
                    <a:bodyPr/>
                    <a:lstStyle/>
                    <a:p>
                      <a:pPr eaLnBrk="0">
                        <a:spcBef>
                          <a:spcPts val="600"/>
                        </a:spcBef>
                      </a:pPr>
                      <a:r>
                        <a:rPr lang="pt-BR" sz="1100" b="1">
                          <a:solidFill>
                            <a:schemeClr val="tx1"/>
                          </a:solidFill>
                        </a:rPr>
                        <a:t>Previsão em regulamento</a:t>
                      </a:r>
                    </a:p>
                    <a:p>
                      <a:pPr lvl="1" eaLnBrk="0">
                        <a:spcBef>
                          <a:spcPts val="0"/>
                        </a:spcBef>
                      </a:pPr>
                      <a:r>
                        <a:rPr lang="pt-BR" sz="900" b="1">
                          <a:solidFill>
                            <a:schemeClr val="tx1"/>
                          </a:solidFill>
                        </a:rPr>
                        <a:t>Alocar pelo menos 65% dos investimentos</a:t>
                      </a:r>
                      <a:r>
                        <a:rPr lang="pt-BR" sz="900">
                          <a:solidFill>
                            <a:schemeClr val="tx1"/>
                          </a:solidFill>
                        </a:rPr>
                        <a:t>, seja por valor ou número de empresas investidas/financiadas/beneficiadas, </a:t>
                      </a:r>
                      <a:r>
                        <a:rPr lang="pt-BR" sz="900" b="1">
                          <a:solidFill>
                            <a:schemeClr val="tx1"/>
                          </a:solidFill>
                        </a:rPr>
                        <a:t>em subsetores</a:t>
                      </a:r>
                      <a:r>
                        <a:rPr lang="pt-BR" sz="900" b="1" strike="noStrike">
                          <a:solidFill>
                            <a:schemeClr val="tx1"/>
                          </a:solidFill>
                        </a:rPr>
                        <a:t> da </a:t>
                      </a:r>
                      <a:r>
                        <a:rPr lang="pt-BR" sz="900" b="1">
                          <a:solidFill>
                            <a:schemeClr val="tx1"/>
                          </a:solidFill>
                        </a:rPr>
                        <a:t>BIP¹ </a:t>
                      </a:r>
                    </a:p>
                    <a:p>
                      <a:pPr lvl="1" eaLnBrk="0">
                        <a:spcBef>
                          <a:spcPts val="0"/>
                        </a:spcBef>
                      </a:pPr>
                      <a:r>
                        <a:rPr lang="pt-BR" sz="900">
                          <a:solidFill>
                            <a:schemeClr val="tx1"/>
                          </a:solidFill>
                        </a:rPr>
                        <a:t>Cláusula de restrição de investimento para</a:t>
                      </a:r>
                      <a:r>
                        <a:rPr lang="pt-BR" sz="900" b="1">
                          <a:solidFill>
                            <a:schemeClr val="tx1"/>
                          </a:solidFill>
                        </a:rPr>
                        <a:t> setores vetados pela Lista de atividades não apoiáveis</a:t>
                      </a:r>
                      <a:r>
                        <a:rPr lang="pt-BR" sz="900" b="1" baseline="30000">
                          <a:solidFill>
                            <a:schemeClr val="tx1"/>
                          </a:solidFill>
                        </a:rPr>
                        <a:t>1,2</a:t>
                      </a:r>
                      <a:endParaRPr lang="pt-BR" sz="900" b="1">
                        <a:solidFill>
                          <a:schemeClr val="tx1"/>
                        </a:solidFill>
                      </a:endParaRP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256806"/>
                  </a:ext>
                </a:extLst>
              </a:tr>
              <a:tr h="621063">
                <a:tc v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pt-BR" sz="1100">
                        <a:solidFill>
                          <a:srgbClr val="000000"/>
                        </a:solidFill>
                      </a:endParaRPr>
                    </a:p>
                  </a:txBody>
                  <a:tcPr marL="72000" marR="0">
                    <a:lnL>
                      <a:noFill/>
                    </a:lnL>
                    <a:lnR>
                      <a:noFill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pt-BR" sz="1200" b="1">
                          <a:solidFill>
                            <a:srgbClr val="FFFFFF"/>
                          </a:solidFill>
                        </a:rPr>
                        <a:t>Escopo geográfic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83EFF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300"/>
                        </a:spcBef>
                      </a:pPr>
                      <a:r>
                        <a:rPr lang="pt-BR" sz="1100" dirty="0"/>
                        <a:t>O mecanismo deve ser </a:t>
                      </a:r>
                      <a:r>
                        <a:rPr lang="pt-BR" sz="1100" b="1" dirty="0"/>
                        <a:t>dedicado a empresas e projetos no Brasil</a:t>
                      </a:r>
                      <a:r>
                        <a:rPr lang="pt-BR" sz="1100" dirty="0"/>
                        <a:t>, podendo ter abrangência </a:t>
                      </a:r>
                      <a:r>
                        <a:rPr lang="pt-BR" sz="1100" b="1" dirty="0"/>
                        <a:t>nacional ou subnacional</a:t>
                      </a:r>
                    </a:p>
                    <a:p>
                      <a:pPr marL="177800" indent="-177800">
                        <a:spcBef>
                          <a:spcPts val="300"/>
                        </a:spcBef>
                      </a:pPr>
                      <a:r>
                        <a:rPr lang="pt-BR" sz="1100" dirty="0"/>
                        <a:t>Mecanismos com escopo </a:t>
                      </a:r>
                      <a:r>
                        <a:rPr lang="pt-BR" sz="1100" b="1" dirty="0"/>
                        <a:t>regional ou global </a:t>
                      </a:r>
                      <a:r>
                        <a:rPr lang="pt-BR" sz="1100" dirty="0"/>
                        <a:t>são elegíveis desde que o mesmo crie um </a:t>
                      </a:r>
                      <a:r>
                        <a:rPr lang="pt-BR" sz="1100" b="1" dirty="0"/>
                        <a:t>compartimento dedicado ao Brasil</a:t>
                      </a:r>
                      <a:r>
                        <a:rPr lang="pt-BR" sz="1100" dirty="0"/>
                        <a:t>, sendo apenas este o objeto de apoio da BIP</a:t>
                      </a: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5345317"/>
                  </a:ext>
                </a:extLst>
              </a:tr>
              <a:tr h="1227161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pt-BR" sz="1100" b="0">
                          <a:solidFill>
                            <a:srgbClr val="000000"/>
                          </a:solidFill>
                        </a:rPr>
                        <a:t>Outras considerações</a:t>
                      </a:r>
                    </a:p>
                  </a:txBody>
                  <a:tcPr marL="72000" marR="0" vert="vert270">
                    <a:lnL>
                      <a:noFill/>
                    </a:lnL>
                    <a:lnR>
                      <a:noFill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pt-BR" sz="1200" b="1">
                          <a:solidFill>
                            <a:srgbClr val="FFFFFF"/>
                          </a:solidFill>
                        </a:rPr>
                        <a:t>Características desejávei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Bef>
                          <a:spcPts val="300"/>
                        </a:spcBef>
                      </a:pPr>
                      <a:r>
                        <a:rPr lang="pt-BR" sz="1100" dirty="0">
                          <a:solidFill>
                            <a:schemeClr val="tx1"/>
                          </a:solidFill>
                        </a:rPr>
                        <a:t>Mecanismo com previsão de </a:t>
                      </a:r>
                      <a:r>
                        <a:rPr lang="pt-BR" sz="1100" b="1" dirty="0">
                          <a:solidFill>
                            <a:schemeClr val="tx1"/>
                          </a:solidFill>
                        </a:rPr>
                        <a:t>incentivo a operações de longo prazo</a:t>
                      </a:r>
                    </a:p>
                    <a:p>
                      <a:pPr marL="177800" indent="-177800">
                        <a:spcBef>
                          <a:spcPts val="300"/>
                        </a:spcBef>
                      </a:pPr>
                      <a:r>
                        <a:rPr lang="pt-BR" sz="1100" dirty="0">
                          <a:solidFill>
                            <a:srgbClr val="000000"/>
                          </a:solidFill>
                        </a:rPr>
                        <a:t>Mecanismo com previsão de </a:t>
                      </a:r>
                      <a:r>
                        <a:rPr lang="pt-BR" sz="1100" b="1" dirty="0">
                          <a:solidFill>
                            <a:srgbClr val="000000"/>
                          </a:solidFill>
                        </a:rPr>
                        <a:t>componente de assistência técnica </a:t>
                      </a:r>
                      <a:r>
                        <a:rPr lang="pt-BR" sz="1100" dirty="0">
                          <a:solidFill>
                            <a:srgbClr val="000000"/>
                          </a:solidFill>
                        </a:rPr>
                        <a:t>(TA) aos projetos beneficiados</a:t>
                      </a:r>
                    </a:p>
                    <a:p>
                      <a:pPr marL="177800" indent="-177800">
                        <a:spcBef>
                          <a:spcPts val="300"/>
                        </a:spcBef>
                      </a:pPr>
                      <a:r>
                        <a:rPr lang="pt-BR" sz="1100" b="1" dirty="0">
                          <a:solidFill>
                            <a:srgbClr val="000000"/>
                          </a:solidFill>
                        </a:rPr>
                        <a:t>Mecanismo financeiro sustentável</a:t>
                      </a:r>
                      <a:r>
                        <a:rPr lang="pt-BR" sz="1100" dirty="0">
                          <a:solidFill>
                            <a:srgbClr val="000000"/>
                          </a:solidFill>
                        </a:rPr>
                        <a:t>, ou quaisquer outros termos correlatos às finanças sustentáveis, conforme definições de ANBIMA, CVM ou de outros padrões de sustentabilidade adotados por instituições de desenvolvimento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pt-BR" sz="1100" dirty="0">
                          <a:solidFill>
                            <a:srgbClr val="000000"/>
                          </a:solidFill>
                        </a:rPr>
                        <a:t>Mecanismo </a:t>
                      </a:r>
                      <a:r>
                        <a:rPr lang="pt-BR" sz="1100" b="1" dirty="0">
                          <a:solidFill>
                            <a:srgbClr val="000000"/>
                          </a:solidFill>
                        </a:rPr>
                        <a:t>alinhado à Taxonomia Sustentável Brasileira</a:t>
                      </a:r>
                      <a:endParaRPr lang="pt-BR" sz="1100" dirty="0">
                        <a:solidFill>
                          <a:srgbClr val="000000"/>
                        </a:solidFill>
                      </a:endParaRPr>
                    </a:p>
                    <a:p>
                      <a:pPr marL="177800" indent="-177800">
                        <a:spcBef>
                          <a:spcPts val="300"/>
                        </a:spcBef>
                      </a:pPr>
                      <a:r>
                        <a:rPr lang="pt-BR" sz="1100" dirty="0">
                          <a:solidFill>
                            <a:srgbClr val="000000"/>
                          </a:solidFill>
                        </a:rPr>
                        <a:t>Mecanismo em conformidade com os </a:t>
                      </a:r>
                      <a:r>
                        <a:rPr lang="pt-BR" sz="1100" b="1" dirty="0">
                          <a:solidFill>
                            <a:srgbClr val="000000"/>
                          </a:solidFill>
                        </a:rPr>
                        <a:t>princípios definidos no SFDR</a:t>
                      </a:r>
                      <a:r>
                        <a:rPr lang="pt-BR" sz="1100" dirty="0">
                          <a:solidFill>
                            <a:srgbClr val="000000"/>
                          </a:solidFill>
                        </a:rPr>
                        <a:t>, para mecanismos sustentáveis</a:t>
                      </a: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 w="9525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9385697"/>
                  </a:ext>
                </a:extLst>
              </a:tr>
            </a:tbl>
          </a:graphicData>
        </a:graphic>
      </p:graphicFrame>
      <p:pic>
        <p:nvPicPr>
          <p:cNvPr id="83" name="Picture 82">
            <a:extLst>
              <a:ext uri="{FF2B5EF4-FFF2-40B4-BE49-F238E27FC236}">
                <a16:creationId xmlns:a16="http://schemas.microsoft.com/office/drawing/2014/main" id="{D6B71036-6AEB-961B-1039-2639240F6C1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63815" y="920033"/>
            <a:ext cx="326550" cy="326550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7DCFC251-5841-047F-C8C1-FBB574CFE76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63815" y="2546504"/>
            <a:ext cx="326550" cy="326550"/>
          </a:xfrm>
          <a:prstGeom prst="rect">
            <a:avLst/>
          </a:prstGeom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7B8CD8CB-9883-1FB8-36E6-B243685CC65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763815" y="2097182"/>
            <a:ext cx="326550" cy="326550"/>
          </a:xfrm>
          <a:prstGeom prst="rect">
            <a:avLst/>
          </a:prstGeom>
        </p:spPr>
      </p:pic>
      <p:pic>
        <p:nvPicPr>
          <p:cNvPr id="111" name="Picture 110">
            <a:extLst>
              <a:ext uri="{FF2B5EF4-FFF2-40B4-BE49-F238E27FC236}">
                <a16:creationId xmlns:a16="http://schemas.microsoft.com/office/drawing/2014/main" id="{371E5093-3463-9650-4104-033D3FEED35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63815" y="3879036"/>
            <a:ext cx="326550" cy="326550"/>
          </a:xfrm>
          <a:prstGeom prst="rect">
            <a:avLst/>
          </a:prstGeom>
        </p:spPr>
      </p:pic>
      <p:pic>
        <p:nvPicPr>
          <p:cNvPr id="117" name="Picture 116">
            <a:extLst>
              <a:ext uri="{FF2B5EF4-FFF2-40B4-BE49-F238E27FC236}">
                <a16:creationId xmlns:a16="http://schemas.microsoft.com/office/drawing/2014/main" id="{0E9AA817-76EC-4248-F470-F0662B5BA99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763815" y="4395937"/>
            <a:ext cx="326550" cy="326550"/>
          </a:xfrm>
          <a:prstGeom prst="rect">
            <a:avLst/>
          </a:prstGeom>
        </p:spPr>
      </p:pic>
      <p:pic>
        <p:nvPicPr>
          <p:cNvPr id="123" name="Picture 122">
            <a:extLst>
              <a:ext uri="{FF2B5EF4-FFF2-40B4-BE49-F238E27FC236}">
                <a16:creationId xmlns:a16="http://schemas.microsoft.com/office/drawing/2014/main" id="{06E47DC7-BABB-AF81-2BC6-44210D92BB0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763815" y="4987331"/>
            <a:ext cx="326550" cy="32655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8B48439D-3FEE-C033-A034-B38D5C607E0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761128" y="6291898"/>
            <a:ext cx="331925" cy="330061"/>
          </a:xfrm>
          <a:prstGeom prst="rect">
            <a:avLst/>
          </a:prstGeom>
        </p:spPr>
      </p:pic>
      <p:sp>
        <p:nvSpPr>
          <p:cNvPr id="3" name="btfpNumberBubble830084">
            <a:extLst>
              <a:ext uri="{FF2B5EF4-FFF2-40B4-BE49-F238E27FC236}">
                <a16:creationId xmlns:a16="http://schemas.microsoft.com/office/drawing/2014/main" id="{4B0A7030-2028-949D-D7F7-7DB80731F0E6}"/>
              </a:ext>
            </a:extLst>
          </p:cNvPr>
          <p:cNvSpPr/>
          <p:nvPr/>
        </p:nvSpPr>
        <p:spPr bwMode="gray">
          <a:xfrm>
            <a:off x="3441831" y="4464223"/>
            <a:ext cx="127222" cy="127222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CC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kumimoji="1" lang="en-US" sz="800" b="1" dirty="0">
                <a:solidFill>
                  <a:srgbClr val="CC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" name="btfpNumberBubble830084">
            <a:extLst>
              <a:ext uri="{FF2B5EF4-FFF2-40B4-BE49-F238E27FC236}">
                <a16:creationId xmlns:a16="http://schemas.microsoft.com/office/drawing/2014/main" id="{C70475DD-76E8-780D-327D-30DEC14C8E98}"/>
              </a:ext>
            </a:extLst>
          </p:cNvPr>
          <p:cNvSpPr/>
          <p:nvPr/>
        </p:nvSpPr>
        <p:spPr bwMode="gray">
          <a:xfrm>
            <a:off x="3441831" y="4619949"/>
            <a:ext cx="127222" cy="127222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CC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kumimoji="1" lang="en-US" sz="800" b="1" dirty="0">
                <a:solidFill>
                  <a:srgbClr val="CC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25342F-E9DE-1B05-390F-7181A8158FAB}"/>
              </a:ext>
            </a:extLst>
          </p:cNvPr>
          <p:cNvSpPr/>
          <p:nvPr/>
        </p:nvSpPr>
        <p:spPr bwMode="gray">
          <a:xfrm rot="16200000">
            <a:off x="5824842" y="-1133809"/>
            <a:ext cx="542315" cy="11300483"/>
          </a:xfrm>
          <a:prstGeom prst="rect">
            <a:avLst/>
          </a:prstGeom>
          <a:noFill/>
          <a:ln w="38100" cap="flat" cmpd="sng" algn="ctr">
            <a:solidFill>
              <a:srgbClr val="CC0000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kumimoji="1" lang="pt-BR" err="1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5971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307129">
            <a:extLst>
              <a:ext uri="{FF2B5EF4-FFF2-40B4-BE49-F238E27FC236}">
                <a16:creationId xmlns:a16="http://schemas.microsoft.com/office/drawing/2014/main" id="{C43160CA-44A4-45DB-A704-0AF441FE5D9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96" t="14721" r="83" b="14721"/>
          <a:stretch>
            <a:fillRect/>
          </a:stretch>
        </p:blipFill>
        <p:spPr>
          <a:xfrm>
            <a:off x="-1" y="0"/>
            <a:ext cx="12191999" cy="6922407"/>
          </a:xfrm>
          <a:prstGeom prst="rect">
            <a:avLst/>
          </a:prstGeom>
        </p:spPr>
      </p:pic>
      <p:sp>
        <p:nvSpPr>
          <p:cNvPr id="50" name="Rectangle: Single Corner Rounded 49">
            <a:extLst>
              <a:ext uri="{FF2B5EF4-FFF2-40B4-BE49-F238E27FC236}">
                <a16:creationId xmlns:a16="http://schemas.microsoft.com/office/drawing/2014/main" id="{CB9F1B68-BEF9-4394-CFD6-7279C15038DE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 rot="10800000" flipH="1" flipV="1">
            <a:off x="3162300" y="-1"/>
            <a:ext cx="8699500" cy="6922407"/>
          </a:xfrm>
          <a:prstGeom prst="round1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2" name="btfpColumnIndicatorGroup2">
            <a:extLst>
              <a:ext uri="{FF2B5EF4-FFF2-40B4-BE49-F238E27FC236}">
                <a16:creationId xmlns:a16="http://schemas.microsoft.com/office/drawing/2014/main" id="{4DA5CE7C-0DBA-1624-D762-AD5B0FBF5AF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0" name="btfpColumnGapBlocker428105">
              <a:extLst>
                <a:ext uri="{FF2B5EF4-FFF2-40B4-BE49-F238E27FC236}">
                  <a16:creationId xmlns:a16="http://schemas.microsoft.com/office/drawing/2014/main" id="{01BC01B4-05A9-8226-7614-B4CBA233047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sp>
          <p:nvSpPr>
            <p:cNvPr id="38" name="btfpColumnGapBlocker210663">
              <a:extLst>
                <a:ext uri="{FF2B5EF4-FFF2-40B4-BE49-F238E27FC236}">
                  <a16:creationId xmlns:a16="http://schemas.microsoft.com/office/drawing/2014/main" id="{8478FA41-6087-F008-E99C-A743C43C23DE}"/>
                </a:ext>
              </a:extLst>
            </p:cNvPr>
            <p:cNvSpPr/>
            <p:nvPr/>
          </p:nvSpPr>
          <p:spPr bwMode="gray">
            <a:xfrm>
              <a:off x="884555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36" name="btfpColumnIndicator393322">
              <a:extLst>
                <a:ext uri="{FF2B5EF4-FFF2-40B4-BE49-F238E27FC236}">
                  <a16:creationId xmlns:a16="http://schemas.microsoft.com/office/drawing/2014/main" id="{C1FDA1F9-22BA-8949-31E1-21A2F178F82A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btfpColumnIndicator692578">
              <a:extLst>
                <a:ext uri="{FF2B5EF4-FFF2-40B4-BE49-F238E27FC236}">
                  <a16:creationId xmlns:a16="http://schemas.microsoft.com/office/drawing/2014/main" id="{79F45B0A-2F63-F3D6-5CE0-55F18D2113D9}"/>
                </a:ext>
              </a:extLst>
            </p:cNvPr>
            <p:cNvCxnSpPr/>
            <p:nvPr/>
          </p:nvCxnSpPr>
          <p:spPr bwMode="gray">
            <a:xfrm flipV="1">
              <a:off x="937895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btfpColumnGapBlocker894163">
              <a:extLst>
                <a:ext uri="{FF2B5EF4-FFF2-40B4-BE49-F238E27FC236}">
                  <a16:creationId xmlns:a16="http://schemas.microsoft.com/office/drawing/2014/main" id="{758719EF-5203-4654-099D-6A6F2438297E}"/>
                </a:ext>
              </a:extLst>
            </p:cNvPr>
            <p:cNvSpPr/>
            <p:nvPr/>
          </p:nvSpPr>
          <p:spPr bwMode="gray">
            <a:xfrm>
              <a:off x="582930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29" name="btfpColumnIndicator375988">
              <a:extLst>
                <a:ext uri="{FF2B5EF4-FFF2-40B4-BE49-F238E27FC236}">
                  <a16:creationId xmlns:a16="http://schemas.microsoft.com/office/drawing/2014/main" id="{82B5107C-C902-DD83-4841-7CDFC375F7E5}"/>
                </a:ext>
              </a:extLst>
            </p:cNvPr>
            <p:cNvCxnSpPr/>
            <p:nvPr/>
          </p:nvCxnSpPr>
          <p:spPr bwMode="gray">
            <a:xfrm flipV="1">
              <a:off x="884555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535519">
              <a:extLst>
                <a:ext uri="{FF2B5EF4-FFF2-40B4-BE49-F238E27FC236}">
                  <a16:creationId xmlns:a16="http://schemas.microsoft.com/office/drawing/2014/main" id="{C807986C-D229-16F8-D04D-FDED5F4C1218}"/>
                </a:ext>
              </a:extLst>
            </p:cNvPr>
            <p:cNvCxnSpPr/>
            <p:nvPr/>
          </p:nvCxnSpPr>
          <p:spPr bwMode="gray">
            <a:xfrm flipV="1">
              <a:off x="63627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btfpColumnGapBlocker575668">
              <a:extLst>
                <a:ext uri="{FF2B5EF4-FFF2-40B4-BE49-F238E27FC236}">
                  <a16:creationId xmlns:a16="http://schemas.microsoft.com/office/drawing/2014/main" id="{0F60E169-5F76-7A33-E979-CF228A980601}"/>
                </a:ext>
              </a:extLst>
            </p:cNvPr>
            <p:cNvSpPr/>
            <p:nvPr/>
          </p:nvSpPr>
          <p:spPr bwMode="gray">
            <a:xfrm>
              <a:off x="281305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23" name="btfpColumnIndicator115473">
              <a:extLst>
                <a:ext uri="{FF2B5EF4-FFF2-40B4-BE49-F238E27FC236}">
                  <a16:creationId xmlns:a16="http://schemas.microsoft.com/office/drawing/2014/main" id="{715C722D-C42D-C2AB-4E7D-F3A20CC5ED7D}"/>
                </a:ext>
              </a:extLst>
            </p:cNvPr>
            <p:cNvCxnSpPr/>
            <p:nvPr/>
          </p:nvCxnSpPr>
          <p:spPr bwMode="gray">
            <a:xfrm flipV="1">
              <a:off x="58293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295898">
              <a:extLst>
                <a:ext uri="{FF2B5EF4-FFF2-40B4-BE49-F238E27FC236}">
                  <a16:creationId xmlns:a16="http://schemas.microsoft.com/office/drawing/2014/main" id="{3E52E545-D14A-A77C-31D5-24F67DA05DAE}"/>
                </a:ext>
              </a:extLst>
            </p:cNvPr>
            <p:cNvCxnSpPr/>
            <p:nvPr/>
          </p:nvCxnSpPr>
          <p:spPr bwMode="gray">
            <a:xfrm flipV="1">
              <a:off x="334645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btfpColumnGapBlocker621674">
              <a:extLst>
                <a:ext uri="{FF2B5EF4-FFF2-40B4-BE49-F238E27FC236}">
                  <a16:creationId xmlns:a16="http://schemas.microsoft.com/office/drawing/2014/main" id="{BB9E1AC3-6365-B314-CB41-14A690562F8D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16" name="btfpColumnIndicator674702">
              <a:extLst>
                <a:ext uri="{FF2B5EF4-FFF2-40B4-BE49-F238E27FC236}">
                  <a16:creationId xmlns:a16="http://schemas.microsoft.com/office/drawing/2014/main" id="{53ECB2A2-55AC-CA59-783A-A5A50082B8E9}"/>
                </a:ext>
              </a:extLst>
            </p:cNvPr>
            <p:cNvCxnSpPr/>
            <p:nvPr/>
          </p:nvCxnSpPr>
          <p:spPr bwMode="gray">
            <a:xfrm flipV="1">
              <a:off x="281305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492745">
              <a:extLst>
                <a:ext uri="{FF2B5EF4-FFF2-40B4-BE49-F238E27FC236}">
                  <a16:creationId xmlns:a16="http://schemas.microsoft.com/office/drawing/2014/main" id="{116AB77A-2AF9-8B6C-539F-4A69233C4B9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btfpColumnIndicatorGroup1">
            <a:extLst>
              <a:ext uri="{FF2B5EF4-FFF2-40B4-BE49-F238E27FC236}">
                <a16:creationId xmlns:a16="http://schemas.microsoft.com/office/drawing/2014/main" id="{E136593A-AF84-577A-1919-A335FA846051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9" name="btfpColumnGapBlocker785879">
              <a:extLst>
                <a:ext uri="{FF2B5EF4-FFF2-40B4-BE49-F238E27FC236}">
                  <a16:creationId xmlns:a16="http://schemas.microsoft.com/office/drawing/2014/main" id="{4A428477-FB6F-DCDA-72EA-8394F88FFC2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sp>
          <p:nvSpPr>
            <p:cNvPr id="37" name="btfpColumnGapBlocker313378">
              <a:extLst>
                <a:ext uri="{FF2B5EF4-FFF2-40B4-BE49-F238E27FC236}">
                  <a16:creationId xmlns:a16="http://schemas.microsoft.com/office/drawing/2014/main" id="{6451FDFF-7B53-C55D-D767-29CEC8790F6F}"/>
                </a:ext>
              </a:extLst>
            </p:cNvPr>
            <p:cNvSpPr/>
            <p:nvPr/>
          </p:nvSpPr>
          <p:spPr bwMode="gray">
            <a:xfrm>
              <a:off x="884555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35" name="btfpColumnIndicator853728">
              <a:extLst>
                <a:ext uri="{FF2B5EF4-FFF2-40B4-BE49-F238E27FC236}">
                  <a16:creationId xmlns:a16="http://schemas.microsoft.com/office/drawing/2014/main" id="{66B82F4A-75AB-FDB2-F66D-65B0A28593B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btfpColumnIndicator835532">
              <a:extLst>
                <a:ext uri="{FF2B5EF4-FFF2-40B4-BE49-F238E27FC236}">
                  <a16:creationId xmlns:a16="http://schemas.microsoft.com/office/drawing/2014/main" id="{58D89EF2-A9C3-776E-CB26-E2D7016EA09C}"/>
                </a:ext>
              </a:extLst>
            </p:cNvPr>
            <p:cNvCxnSpPr/>
            <p:nvPr/>
          </p:nvCxnSpPr>
          <p:spPr bwMode="gray">
            <a:xfrm flipV="1">
              <a:off x="937895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btfpColumnGapBlocker326195">
              <a:extLst>
                <a:ext uri="{FF2B5EF4-FFF2-40B4-BE49-F238E27FC236}">
                  <a16:creationId xmlns:a16="http://schemas.microsoft.com/office/drawing/2014/main" id="{289640D9-F96C-7A65-CE89-1861FB9A8DC6}"/>
                </a:ext>
              </a:extLst>
            </p:cNvPr>
            <p:cNvSpPr/>
            <p:nvPr/>
          </p:nvSpPr>
          <p:spPr bwMode="gray">
            <a:xfrm>
              <a:off x="582930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28" name="btfpColumnIndicator728859">
              <a:extLst>
                <a:ext uri="{FF2B5EF4-FFF2-40B4-BE49-F238E27FC236}">
                  <a16:creationId xmlns:a16="http://schemas.microsoft.com/office/drawing/2014/main" id="{61BD317A-B354-09E8-0E42-2B9B7FA53316}"/>
                </a:ext>
              </a:extLst>
            </p:cNvPr>
            <p:cNvCxnSpPr/>
            <p:nvPr/>
          </p:nvCxnSpPr>
          <p:spPr bwMode="gray">
            <a:xfrm flipV="1">
              <a:off x="884555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btfpColumnIndicator165851">
              <a:extLst>
                <a:ext uri="{FF2B5EF4-FFF2-40B4-BE49-F238E27FC236}">
                  <a16:creationId xmlns:a16="http://schemas.microsoft.com/office/drawing/2014/main" id="{33B4B672-6425-966A-917E-F328C2F778C2}"/>
                </a:ext>
              </a:extLst>
            </p:cNvPr>
            <p:cNvCxnSpPr/>
            <p:nvPr/>
          </p:nvCxnSpPr>
          <p:spPr bwMode="gray">
            <a:xfrm flipV="1">
              <a:off x="63627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btfpColumnGapBlocker522443">
              <a:extLst>
                <a:ext uri="{FF2B5EF4-FFF2-40B4-BE49-F238E27FC236}">
                  <a16:creationId xmlns:a16="http://schemas.microsoft.com/office/drawing/2014/main" id="{C8222DC6-6A8C-E0B2-7149-BDC17D4D377C}"/>
                </a:ext>
              </a:extLst>
            </p:cNvPr>
            <p:cNvSpPr/>
            <p:nvPr/>
          </p:nvSpPr>
          <p:spPr bwMode="gray">
            <a:xfrm>
              <a:off x="281305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21" name="btfpColumnIndicator546738">
              <a:extLst>
                <a:ext uri="{FF2B5EF4-FFF2-40B4-BE49-F238E27FC236}">
                  <a16:creationId xmlns:a16="http://schemas.microsoft.com/office/drawing/2014/main" id="{3FD8384E-BC37-FE69-B43F-0F5D5CFDABAB}"/>
                </a:ext>
              </a:extLst>
            </p:cNvPr>
            <p:cNvCxnSpPr/>
            <p:nvPr/>
          </p:nvCxnSpPr>
          <p:spPr bwMode="gray">
            <a:xfrm flipV="1">
              <a:off x="58293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btfpColumnIndicator767879">
              <a:extLst>
                <a:ext uri="{FF2B5EF4-FFF2-40B4-BE49-F238E27FC236}">
                  <a16:creationId xmlns:a16="http://schemas.microsoft.com/office/drawing/2014/main" id="{E51B520F-6A60-95D7-D3BD-D63CB4AC24CC}"/>
                </a:ext>
              </a:extLst>
            </p:cNvPr>
            <p:cNvCxnSpPr/>
            <p:nvPr/>
          </p:nvCxnSpPr>
          <p:spPr bwMode="gray">
            <a:xfrm flipV="1">
              <a:off x="334645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btfpColumnGapBlocker959170">
              <a:extLst>
                <a:ext uri="{FF2B5EF4-FFF2-40B4-BE49-F238E27FC236}">
                  <a16:creationId xmlns:a16="http://schemas.microsoft.com/office/drawing/2014/main" id="{A168F49A-6731-1C8F-D783-172FE353E14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15" name="btfpColumnIndicator439368">
              <a:extLst>
                <a:ext uri="{FF2B5EF4-FFF2-40B4-BE49-F238E27FC236}">
                  <a16:creationId xmlns:a16="http://schemas.microsoft.com/office/drawing/2014/main" id="{3DF8B5E1-C925-EE18-386E-2FDB7B38A78A}"/>
                </a:ext>
              </a:extLst>
            </p:cNvPr>
            <p:cNvCxnSpPr/>
            <p:nvPr/>
          </p:nvCxnSpPr>
          <p:spPr bwMode="gray">
            <a:xfrm flipV="1">
              <a:off x="281305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826684">
              <a:extLst>
                <a:ext uri="{FF2B5EF4-FFF2-40B4-BE49-F238E27FC236}">
                  <a16:creationId xmlns:a16="http://schemas.microsoft.com/office/drawing/2014/main" id="{2EAA3021-A5D7-37D1-12EA-B116D6CE49AC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6ED731A6-A21B-C7B7-E393-56CC812290C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0" imgH="0" progId="TCLayout.ActiveDocument.1">
                  <p:embed/>
                </p:oleObj>
              </mc:Choice>
              <mc:Fallback>
                <p:oleObj name="think-cell Slide" r:id="rId55" imgW="0" imgH="0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D731A6-A21B-C7B7-E393-56CC81229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21">
            <a:extLst>
              <a:ext uri="{FF2B5EF4-FFF2-40B4-BE49-F238E27FC236}">
                <a16:creationId xmlns:a16="http://schemas.microsoft.com/office/drawing/2014/main" id="{9E509DB0-58F5-54A4-4297-43D021C2ED72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87607" y="939327"/>
            <a:ext cx="2366260" cy="1051116"/>
          </a:xfrm>
        </p:spPr>
        <p:txBody>
          <a:bodyPr vert="horz">
            <a:normAutofit fontScale="90000"/>
          </a:bodyPr>
          <a:lstStyle/>
          <a:p>
            <a:r>
              <a:rPr lang="pt-BR">
                <a:solidFill>
                  <a:schemeClr val="bg1"/>
                </a:solidFill>
              </a:rPr>
              <a:t>A BIP está focada em três setores principais</a:t>
            </a:r>
          </a:p>
        </p:txBody>
      </p:sp>
      <p:sp>
        <p:nvSpPr>
          <p:cNvPr id="245" name="Freeform: Shape 244">
            <a:extLst>
              <a:ext uri="{FF2B5EF4-FFF2-40B4-BE49-F238E27FC236}">
                <a16:creationId xmlns:a16="http://schemas.microsoft.com/office/drawing/2014/main" id="{11E22590-7403-D81F-D69D-43AFD600983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162298" y="6090924"/>
            <a:ext cx="504550" cy="835651"/>
          </a:xfrm>
          <a:custGeom>
            <a:avLst/>
            <a:gdLst>
              <a:gd name="connsiteX0" fmla="*/ 0 w 704300"/>
              <a:gd name="connsiteY0" fmla="*/ 1184195 h 1184194"/>
              <a:gd name="connsiteX1" fmla="*/ 704300 w 704300"/>
              <a:gd name="connsiteY1" fmla="*/ 1184195 h 1184194"/>
              <a:gd name="connsiteX2" fmla="*/ 0 w 704300"/>
              <a:gd name="connsiteY2" fmla="*/ 0 h 1184194"/>
              <a:gd name="connsiteX3" fmla="*/ 0 w 704300"/>
              <a:gd name="connsiteY3" fmla="*/ 1184195 h 118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300" h="1184194">
                <a:moveTo>
                  <a:pt x="0" y="1184195"/>
                </a:moveTo>
                <a:lnTo>
                  <a:pt x="704300" y="1184195"/>
                </a:lnTo>
                <a:lnTo>
                  <a:pt x="0" y="0"/>
                </a:lnTo>
                <a:lnTo>
                  <a:pt x="0" y="1184195"/>
                </a:lnTo>
                <a:close/>
              </a:path>
            </a:pathLst>
          </a:custGeom>
          <a:solidFill>
            <a:srgbClr val="00CE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btfpStatusStickerText280292">
            <a:extLst>
              <a:ext uri="{FF2B5EF4-FFF2-40B4-BE49-F238E27FC236}">
                <a16:creationId xmlns:a16="http://schemas.microsoft.com/office/drawing/2014/main" id="{959DE3FD-DAA2-44F5-9EB8-B270175582EE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 rot="5400000">
            <a:off x="4065361" y="-366261"/>
            <a:ext cx="211276" cy="1371819"/>
          </a:xfrm>
          <a:prstGeom prst="rect">
            <a:avLst/>
          </a:prstGeom>
          <a:noFill/>
        </p:spPr>
        <p:txBody>
          <a:bodyPr vert="vert270" wrap="none" lIns="72073" tIns="25226" rIns="0" bIns="25226" rtlCol="0" anchor="t">
            <a:spAutoFit/>
          </a:bodyPr>
          <a:lstStyle/>
          <a:p>
            <a:pPr marL="0" indent="0" algn="ctr">
              <a:spcBef>
                <a:spcPct val="0"/>
              </a:spcBef>
              <a:buNone/>
            </a:pPr>
            <a:r>
              <a:rPr lang="pt-BR" sz="900" b="1" cap="all" spc="450">
                <a:solidFill>
                  <a:srgbClr val="4059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ADO POR</a:t>
            </a:r>
          </a:p>
        </p:txBody>
      </p: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9015803C-2571-1885-6659-E08F90C4AE7B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H="1">
            <a:off x="6197180" y="482638"/>
            <a:ext cx="0" cy="615102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23A36AE-7ABF-4CD9-A96C-8E4711352807}"/>
              </a:ext>
            </a:extLst>
          </p:cNvPr>
          <p:cNvGrpSpPr/>
          <p:nvPr/>
        </p:nvGrpSpPr>
        <p:grpSpPr>
          <a:xfrm>
            <a:off x="3554426" y="2231280"/>
            <a:ext cx="8159183" cy="632936"/>
            <a:chOff x="3602051" y="2345580"/>
            <a:chExt cx="8159183" cy="632936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E7E31DA-F48A-40FB-A0F9-1A3A946F42B9}"/>
                </a:ext>
              </a:extLst>
            </p:cNvPr>
            <p:cNvGrpSpPr/>
            <p:nvPr/>
          </p:nvGrpSpPr>
          <p:grpSpPr>
            <a:xfrm>
              <a:off x="3602051" y="2345581"/>
              <a:ext cx="2661617" cy="601038"/>
              <a:chOff x="3602051" y="2345581"/>
              <a:chExt cx="2661617" cy="601038"/>
            </a:xfrm>
          </p:grpSpPr>
          <p:grpSp>
            <p:nvGrpSpPr>
              <p:cNvPr id="229" name="btfpIcon648448">
                <a:extLst>
                  <a:ext uri="{FF2B5EF4-FFF2-40B4-BE49-F238E27FC236}">
                    <a16:creationId xmlns:a16="http://schemas.microsoft.com/office/drawing/2014/main" id="{FB0B64E1-600B-083A-B677-2FDF33EA6F72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48"/>
                </p:custDataLst>
              </p:nvPr>
            </p:nvGrpSpPr>
            <p:grpSpPr>
              <a:xfrm>
                <a:off x="3602051" y="2345581"/>
                <a:ext cx="632937" cy="601038"/>
                <a:chOff x="3419762" y="817035"/>
                <a:chExt cx="687290" cy="668450"/>
              </a:xfrm>
            </p:grpSpPr>
            <p:sp>
              <p:nvSpPr>
                <p:cNvPr id="228" name="btfpIconCircle648448">
                  <a:extLst>
                    <a:ext uri="{FF2B5EF4-FFF2-40B4-BE49-F238E27FC236}">
                      <a16:creationId xmlns:a16="http://schemas.microsoft.com/office/drawing/2014/main" id="{EFDA42EF-F233-77D9-0A2F-B56F8FCEE6AA}"/>
                    </a:ext>
                  </a:extLst>
                </p:cNvPr>
                <p:cNvSpPr/>
                <p:nvPr>
                  <p:custDataLst>
                    <p:tags r:id="rId50"/>
                  </p:custDataLst>
                </p:nvPr>
              </p:nvSpPr>
              <p:spPr bwMode="gray">
                <a:xfrm>
                  <a:off x="3454400" y="817035"/>
                  <a:ext cx="652652" cy="668450"/>
                </a:xfrm>
                <a:prstGeom prst="ellipse">
                  <a:avLst/>
                </a:prstGeom>
                <a:noFill/>
                <a:ln w="9525" cap="flat" cmpd="sng" algn="ctr">
                  <a:noFill/>
                  <a:prstDash val="solid"/>
                  <a:miter lim="800000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chemeClr val="tx1"/>
                      </a:solidFill>
                      <a:prstDash val="solid"/>
                      <a:miter lim="800000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pt-BR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pic>
              <p:nvPicPr>
                <p:cNvPr id="227" name="btfpIconLines648448">
                  <a:extLst>
                    <a:ext uri="{FF2B5EF4-FFF2-40B4-BE49-F238E27FC236}">
                      <a16:creationId xmlns:a16="http://schemas.microsoft.com/office/drawing/2014/main" id="{080C5868-3329-7D40-8F00-D205D1E1CC76}"/>
                    </a:ext>
                  </a:extLst>
                </p:cNvPr>
                <p:cNvPicPr/>
                <p:nvPr>
                  <p:custDataLst>
                    <p:tags r:id="rId51"/>
                  </p:custDataLst>
                </p:nvPr>
              </p:nvPicPr>
              <p:blipFill>
                <a:blip r:embed="rId5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419762" y="817035"/>
                  <a:ext cx="652652" cy="668450"/>
                </a:xfrm>
                <a:prstGeom prst="rect">
                  <a:avLst/>
                </a:prstGeom>
              </p:spPr>
            </p:pic>
          </p:grpSp>
          <p:sp>
            <p:nvSpPr>
              <p:cNvPr id="165" name="btfpBulletedList263437">
                <a:extLst>
                  <a:ext uri="{FF2B5EF4-FFF2-40B4-BE49-F238E27FC236}">
                    <a16:creationId xmlns:a16="http://schemas.microsoft.com/office/drawing/2014/main" id="{B7284C2C-4438-3737-AD99-C4AFE417964C}"/>
                  </a:ext>
                </a:extLst>
              </p:cNvPr>
              <p:cNvSpPr txBox="1"/>
              <p:nvPr>
                <p:custDataLst>
                  <p:tags r:id="rId49"/>
                </p:custDataLst>
              </p:nvPr>
            </p:nvSpPr>
            <p:spPr bwMode="gray">
              <a:xfrm>
                <a:off x="4105723" y="2419698"/>
                <a:ext cx="2157945" cy="503590"/>
              </a:xfrm>
              <a:prstGeom prst="rect">
                <a:avLst/>
              </a:prstGeom>
              <a:noFill/>
            </p:spPr>
            <p:txBody>
              <a:bodyPr vert="horz" wrap="square" lIns="36000" tIns="36000" rIns="36000" bIns="36000" rtlCol="0" anchor="t">
                <a:spAutoFit/>
              </a:bodyPr>
              <a:lstStyle/>
              <a:p>
                <a:pPr marL="0" marR="0" lvl="0" indent="0" algn="l" defTabSz="711200" rtl="0" eaLnBrk="1" fontAlgn="auto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pt-BR" sz="1400" b="1" i="0" u="none" strike="noStrike" kern="1200" cap="none" spc="0" normalizeH="0" baseline="0">
                    <a:ln>
                      <a:noFill/>
                    </a:ln>
                    <a:solidFill>
                      <a:srgbClr val="009D2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oluções baseadas na natureza e bioeconomia¹</a:t>
                </a:r>
                <a:endParaRPr kumimoji="0" lang="pt-BR" sz="1200" b="0" i="0" u="none" strike="noStrike" kern="1200" cap="none" spc="0" normalizeH="0" baseline="0">
                  <a:ln>
                    <a:noFill/>
                  </a:ln>
                  <a:solidFill>
                    <a:srgbClr val="009D2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523273F-1221-40C6-B034-006EA89002E2}"/>
                </a:ext>
              </a:extLst>
            </p:cNvPr>
            <p:cNvGrpSpPr/>
            <p:nvPr/>
          </p:nvGrpSpPr>
          <p:grpSpPr>
            <a:xfrm>
              <a:off x="6593868" y="2345581"/>
              <a:ext cx="2522024" cy="601038"/>
              <a:chOff x="6593868" y="2345581"/>
              <a:chExt cx="2522024" cy="601038"/>
            </a:xfrm>
          </p:grpSpPr>
          <p:grpSp>
            <p:nvGrpSpPr>
              <p:cNvPr id="219" name="btfpIcon121450">
                <a:extLst>
                  <a:ext uri="{FF2B5EF4-FFF2-40B4-BE49-F238E27FC236}">
                    <a16:creationId xmlns:a16="http://schemas.microsoft.com/office/drawing/2014/main" id="{FBF97CC2-A5A9-4611-2009-BB6CDC39D4DC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44"/>
                </p:custDataLst>
              </p:nvPr>
            </p:nvGrpSpPr>
            <p:grpSpPr>
              <a:xfrm>
                <a:off x="6593868" y="2345581"/>
                <a:ext cx="792428" cy="601038"/>
                <a:chOff x="6258011" y="817035"/>
                <a:chExt cx="860476" cy="668450"/>
              </a:xfrm>
            </p:grpSpPr>
            <p:sp>
              <p:nvSpPr>
                <p:cNvPr id="218" name="btfpIconCircle121450">
                  <a:extLst>
                    <a:ext uri="{FF2B5EF4-FFF2-40B4-BE49-F238E27FC236}">
                      <a16:creationId xmlns:a16="http://schemas.microsoft.com/office/drawing/2014/main" id="{ACDD7933-20BE-3761-72E6-7752B6CC1134}"/>
                    </a:ext>
                  </a:extLst>
                </p:cNvPr>
                <p:cNvSpPr/>
                <p:nvPr>
                  <p:custDataLst>
                    <p:tags r:id="rId46"/>
                  </p:custDataLst>
                </p:nvPr>
              </p:nvSpPr>
              <p:spPr bwMode="gray">
                <a:xfrm>
                  <a:off x="6258011" y="817035"/>
                  <a:ext cx="652652" cy="668450"/>
                </a:xfrm>
                <a:prstGeom prst="ellipse">
                  <a:avLst/>
                </a:prstGeom>
                <a:noFill/>
                <a:ln w="9525" cap="flat" cmpd="sng" algn="ctr">
                  <a:noFill/>
                  <a:prstDash val="solid"/>
                  <a:miter lim="800000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chemeClr val="tx1"/>
                      </a:solidFill>
                      <a:prstDash val="solid"/>
                      <a:miter lim="800000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pt-BR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pic>
              <p:nvPicPr>
                <p:cNvPr id="217" name="btfpIconLines121450">
                  <a:extLst>
                    <a:ext uri="{FF2B5EF4-FFF2-40B4-BE49-F238E27FC236}">
                      <a16:creationId xmlns:a16="http://schemas.microsoft.com/office/drawing/2014/main" id="{98B2CB40-5095-9A8A-9C5C-546FA207E413}"/>
                    </a:ext>
                  </a:extLst>
                </p:cNvPr>
                <p:cNvPicPr/>
                <p:nvPr>
                  <p:custDataLst>
                    <p:tags r:id="rId47"/>
                  </p:custDataLst>
                </p:nvPr>
              </p:nvPicPr>
              <p:blipFill>
                <a:blip r:embed="rId5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65834" y="817035"/>
                  <a:ext cx="652653" cy="668450"/>
                </a:xfrm>
                <a:prstGeom prst="rect">
                  <a:avLst/>
                </a:prstGeom>
              </p:spPr>
            </p:pic>
          </p:grpSp>
          <p:sp>
            <p:nvSpPr>
              <p:cNvPr id="166" name="btfpBulletedList263437">
                <a:extLst>
                  <a:ext uri="{FF2B5EF4-FFF2-40B4-BE49-F238E27FC236}">
                    <a16:creationId xmlns:a16="http://schemas.microsoft.com/office/drawing/2014/main" id="{B069E31A-2E0C-1A9C-FD3E-1C447C2E900A}"/>
                  </a:ext>
                </a:extLst>
              </p:cNvPr>
              <p:cNvSpPr txBox="1"/>
              <p:nvPr>
                <p:custDataLst>
                  <p:tags r:id="rId45"/>
                </p:custDataLst>
              </p:nvPr>
            </p:nvSpPr>
            <p:spPr bwMode="gray">
              <a:xfrm>
                <a:off x="7332859" y="2410229"/>
                <a:ext cx="1783033" cy="503590"/>
              </a:xfrm>
              <a:prstGeom prst="rect">
                <a:avLst/>
              </a:prstGeom>
              <a:noFill/>
            </p:spPr>
            <p:txBody>
              <a:bodyPr vert="horz" wrap="square" lIns="36000" tIns="36000" rIns="36000" bIns="36000" rtlCol="0" anchor="t">
                <a:spAutoFit/>
              </a:bodyPr>
              <a:lstStyle/>
              <a:p>
                <a:pPr marL="0" marR="0" lvl="0" indent="0" algn="l" defTabSz="711200" rtl="0" eaLnBrk="1" fontAlgn="auto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pt-BR" sz="1400" b="1" i="0" u="none" strike="noStrike" kern="1200" cap="none" spc="0" normalizeH="0" baseline="0">
                    <a:ln>
                      <a:noFill/>
                    </a:ln>
                    <a:solidFill>
                      <a:srgbClr val="009D2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Indústria e Mobilidade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403AE5D-CA4A-4D66-8556-D370F9EE9861}"/>
                </a:ext>
              </a:extLst>
            </p:cNvPr>
            <p:cNvGrpSpPr/>
            <p:nvPr/>
          </p:nvGrpSpPr>
          <p:grpSpPr>
            <a:xfrm>
              <a:off x="9690340" y="2345580"/>
              <a:ext cx="2070894" cy="632936"/>
              <a:chOff x="9690340" y="2345580"/>
              <a:chExt cx="2070894" cy="632936"/>
            </a:xfrm>
          </p:grpSpPr>
          <p:grpSp>
            <p:nvGrpSpPr>
              <p:cNvPr id="224" name="btfpIcon620040">
                <a:extLst>
                  <a:ext uri="{FF2B5EF4-FFF2-40B4-BE49-F238E27FC236}">
                    <a16:creationId xmlns:a16="http://schemas.microsoft.com/office/drawing/2014/main" id="{161209A7-2406-9DE8-D587-9D1011B48FB8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40"/>
                </p:custDataLst>
              </p:nvPr>
            </p:nvGrpSpPr>
            <p:grpSpPr>
              <a:xfrm>
                <a:off x="9690340" y="2345580"/>
                <a:ext cx="601038" cy="632936"/>
                <a:chOff x="9264822" y="817035"/>
                <a:chExt cx="652652" cy="703927"/>
              </a:xfrm>
            </p:grpSpPr>
            <p:sp>
              <p:nvSpPr>
                <p:cNvPr id="223" name="btfpIconCircle620040">
                  <a:extLst>
                    <a:ext uri="{FF2B5EF4-FFF2-40B4-BE49-F238E27FC236}">
                      <a16:creationId xmlns:a16="http://schemas.microsoft.com/office/drawing/2014/main" id="{13022784-853B-9610-B852-4911F218B615}"/>
                    </a:ext>
                  </a:extLst>
                </p:cNvPr>
                <p:cNvSpPr/>
                <p:nvPr>
                  <p:custDataLst>
                    <p:tags r:id="rId42"/>
                  </p:custDataLst>
                </p:nvPr>
              </p:nvSpPr>
              <p:spPr bwMode="gray">
                <a:xfrm>
                  <a:off x="9264822" y="817035"/>
                  <a:ext cx="652652" cy="668450"/>
                </a:xfrm>
                <a:prstGeom prst="ellipse">
                  <a:avLst/>
                </a:prstGeom>
                <a:noFill/>
                <a:ln w="9525" cap="flat" cmpd="sng" algn="ctr">
                  <a:noFill/>
                  <a:prstDash val="solid"/>
                  <a:miter lim="800000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chemeClr val="tx1"/>
                      </a:solidFill>
                      <a:prstDash val="solid"/>
                      <a:miter lim="800000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pt-BR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pic>
              <p:nvPicPr>
                <p:cNvPr id="222" name="btfpIconLines620040">
                  <a:extLst>
                    <a:ext uri="{FF2B5EF4-FFF2-40B4-BE49-F238E27FC236}">
                      <a16:creationId xmlns:a16="http://schemas.microsoft.com/office/drawing/2014/main" id="{F587B7A0-A46D-EC51-8483-EBC4B6BA58DA}"/>
                    </a:ext>
                  </a:extLst>
                </p:cNvPr>
                <p:cNvPicPr/>
                <p:nvPr>
                  <p:custDataLst>
                    <p:tags r:id="rId43"/>
                  </p:custDataLst>
                </p:nvPr>
              </p:nvPicPr>
              <p:blipFill>
                <a:blip r:embed="rId5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64822" y="852512"/>
                  <a:ext cx="652652" cy="668450"/>
                </a:xfrm>
                <a:prstGeom prst="rect">
                  <a:avLst/>
                </a:prstGeom>
              </p:spPr>
            </p:pic>
          </p:grpSp>
          <p:sp>
            <p:nvSpPr>
              <p:cNvPr id="167" name="btfpBulletedList263437">
                <a:extLst>
                  <a:ext uri="{FF2B5EF4-FFF2-40B4-BE49-F238E27FC236}">
                    <a16:creationId xmlns:a16="http://schemas.microsoft.com/office/drawing/2014/main" id="{F5DCF6A4-01D4-6122-8360-73235E6498C9}"/>
                  </a:ext>
                </a:extLst>
              </p:cNvPr>
              <p:cNvSpPr txBox="1"/>
              <p:nvPr>
                <p:custDataLst>
                  <p:tags r:id="rId41"/>
                </p:custDataLst>
              </p:nvPr>
            </p:nvSpPr>
            <p:spPr bwMode="gray">
              <a:xfrm>
                <a:off x="10287585" y="2548455"/>
                <a:ext cx="1473649" cy="288147"/>
              </a:xfrm>
              <a:prstGeom prst="rect">
                <a:avLst/>
              </a:prstGeom>
              <a:noFill/>
            </p:spPr>
            <p:txBody>
              <a:bodyPr vert="horz" wrap="square" lIns="36000" tIns="36000" rIns="36000" bIns="36000" rtlCol="0" anchor="t">
                <a:spAutoFit/>
              </a:bodyPr>
              <a:lstStyle/>
              <a:p>
                <a:pPr marL="0" marR="0" lvl="0" indent="0" algn="l" defTabSz="711200" rtl="0" eaLnBrk="1" fontAlgn="auto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pt-BR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9D2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Energia</a:t>
                </a:r>
                <a:endPara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9D2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229D3D05-C302-3684-FCCB-E02E1ABE9997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 flipH="1">
            <a:off x="8987959" y="482638"/>
            <a:ext cx="0" cy="5128662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2D27DB18-F132-4C5C-A740-81CF28D26BF9}"/>
              </a:ext>
            </a:extLst>
          </p:cNvPr>
          <p:cNvGrpSpPr/>
          <p:nvPr/>
        </p:nvGrpSpPr>
        <p:grpSpPr>
          <a:xfrm>
            <a:off x="3586322" y="3205145"/>
            <a:ext cx="8001276" cy="3399938"/>
            <a:chOff x="3633947" y="3319445"/>
            <a:chExt cx="8001276" cy="3399938"/>
          </a:xfrm>
        </p:grpSpPr>
        <p:sp>
          <p:nvSpPr>
            <p:cNvPr id="117" name="Rectangle: Rounded Corners 116">
              <a:extLst>
                <a:ext uri="{FF2B5EF4-FFF2-40B4-BE49-F238E27FC236}">
                  <a16:creationId xmlns:a16="http://schemas.microsoft.com/office/drawing/2014/main" id="{A57A6A14-7047-8FCA-29DC-7C3CEEA1B98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6360687" y="5051323"/>
              <a:ext cx="2559015" cy="369149"/>
            </a:xfrm>
            <a:prstGeom prst="round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Aço / alumínio com baixa emissão de carbono</a:t>
              </a:r>
              <a:endParaRPr kumimoji="0" lang="pt-BR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: Rounded Corners 117">
              <a:extLst>
                <a:ext uri="{FF2B5EF4-FFF2-40B4-BE49-F238E27FC236}">
                  <a16:creationId xmlns:a16="http://schemas.microsoft.com/office/drawing/2014/main" id="{CFF7359F-0659-7FAB-F414-F91F3449B0C5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9151466" y="5051323"/>
              <a:ext cx="2483756" cy="369149"/>
            </a:xfrm>
            <a:prstGeom prst="round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Eólica offshore</a:t>
              </a:r>
            </a:p>
          </p:txBody>
        </p: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DE23F361-AAF4-2932-EEB5-CF9E9272E9B4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3645167" y="5051323"/>
              <a:ext cx="2483756" cy="369149"/>
            </a:xfrm>
            <a:prstGeom prst="round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Gestão de resíduos</a:t>
              </a:r>
              <a:endParaRPr kumimoji="0" lang="pt-BR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61F1C8EB-DDA0-0297-F36B-710F1A140309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gray">
            <a:xfrm>
              <a:off x="6360687" y="5484293"/>
              <a:ext cx="2559015" cy="369149"/>
            </a:xfrm>
            <a:prstGeom prst="round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Cimento com baixa emissão de carbono</a:t>
              </a:r>
            </a:p>
          </p:txBody>
        </p:sp>
        <p:sp>
          <p:nvSpPr>
            <p:cNvPr id="121" name="Rectangle: Rounded Corners 120">
              <a:extLst>
                <a:ext uri="{FF2B5EF4-FFF2-40B4-BE49-F238E27FC236}">
                  <a16:creationId xmlns:a16="http://schemas.microsoft.com/office/drawing/2014/main" id="{261F3D24-7068-BEA4-F4C0-0DE58E8E35CF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3645167" y="5484293"/>
              <a:ext cx="2483756" cy="369149"/>
            </a:xfrm>
            <a:prstGeom prst="round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Agricultura regenerativa </a:t>
              </a:r>
              <a:endParaRPr kumimoji="0" lang="pt-BR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: Rounded Corners 121">
              <a:extLst>
                <a:ext uri="{FF2B5EF4-FFF2-40B4-BE49-F238E27FC236}">
                  <a16:creationId xmlns:a16="http://schemas.microsoft.com/office/drawing/2014/main" id="{28A62C2F-95D3-261A-E161-D3BB3775A061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 bwMode="gray">
            <a:xfrm>
              <a:off x="3645167" y="4185384"/>
              <a:ext cx="2483756" cy="369149"/>
            </a:xfrm>
            <a:prstGeom prst="round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pt-BR" sz="12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ejo</a:t>
              </a: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sustentável</a:t>
              </a:r>
              <a:b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de vegetação nativa</a:t>
              </a:r>
              <a:endParaRPr kumimoji="0" lang="pt-BR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Rectangle: Rounded Corners 122">
              <a:extLst>
                <a:ext uri="{FF2B5EF4-FFF2-40B4-BE49-F238E27FC236}">
                  <a16:creationId xmlns:a16="http://schemas.microsoft.com/office/drawing/2014/main" id="{11C1D2CB-0B30-5963-DA3B-857FE74A26F8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 bwMode="gray">
            <a:xfrm>
              <a:off x="6360439" y="4185384"/>
              <a:ext cx="5274783" cy="369149"/>
            </a:xfrm>
            <a:prstGeom prst="round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Hidrogênio de baixa emissão de carbono</a:t>
              </a:r>
            </a:p>
          </p:txBody>
        </p:sp>
        <p:sp>
          <p:nvSpPr>
            <p:cNvPr id="124" name="Rectangle: Rounded Corners 123">
              <a:extLst>
                <a:ext uri="{FF2B5EF4-FFF2-40B4-BE49-F238E27FC236}">
                  <a16:creationId xmlns:a16="http://schemas.microsoft.com/office/drawing/2014/main" id="{10BDEF7B-2F34-FE41-8EBB-7E6F1C128EFA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 bwMode="gray">
            <a:xfrm>
              <a:off x="3645167" y="3752414"/>
              <a:ext cx="2483756" cy="369149"/>
            </a:xfrm>
            <a:prstGeom prst="round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ecuperação da vegetação nativa </a:t>
              </a:r>
              <a:endParaRPr kumimoji="0" lang="pt-BR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Rectangle: Rounded Corners 124">
              <a:extLst>
                <a:ext uri="{FF2B5EF4-FFF2-40B4-BE49-F238E27FC236}">
                  <a16:creationId xmlns:a16="http://schemas.microsoft.com/office/drawing/2014/main" id="{F3D919B9-30C0-D042-89BA-58EEAFA68C07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6360687" y="3752414"/>
              <a:ext cx="2559015" cy="369149"/>
            </a:xfrm>
            <a:prstGeom prst="round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Mobilidade urbana elétrica</a:t>
              </a:r>
            </a:p>
          </p:txBody>
        </p:sp>
        <p:sp>
          <p:nvSpPr>
            <p:cNvPr id="126" name="Rectangle: Rounded Corners 125">
              <a:extLst>
                <a:ext uri="{FF2B5EF4-FFF2-40B4-BE49-F238E27FC236}">
                  <a16:creationId xmlns:a16="http://schemas.microsoft.com/office/drawing/2014/main" id="{CE6D2114-ED02-F5EB-5C81-2916B4C35280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gray">
            <a:xfrm>
              <a:off x="9151466" y="3752414"/>
              <a:ext cx="2483756" cy="369149"/>
            </a:xfrm>
            <a:prstGeom prst="round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Sistemas renováveis resilientes</a:t>
              </a:r>
              <a:b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para sistemas isolados</a:t>
              </a:r>
            </a:p>
          </p:txBody>
        </p:sp>
        <p:sp>
          <p:nvSpPr>
            <p:cNvPr id="127" name="Rectangle: Rounded Corners 126">
              <a:extLst>
                <a:ext uri="{FF2B5EF4-FFF2-40B4-BE49-F238E27FC236}">
                  <a16:creationId xmlns:a16="http://schemas.microsoft.com/office/drawing/2014/main" id="{14960E5E-6DBB-3897-5B07-29CDC6CED846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 bwMode="gray">
            <a:xfrm>
              <a:off x="6360439" y="6350234"/>
              <a:ext cx="5219598" cy="369149"/>
            </a:xfrm>
            <a:prstGeom prst="round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Minerais estratégicos³</a:t>
              </a:r>
              <a:endParaRPr kumimoji="0" lang="pt-BR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Rectangle: Rounded Corners 127">
              <a:extLst>
                <a:ext uri="{FF2B5EF4-FFF2-40B4-BE49-F238E27FC236}">
                  <a16:creationId xmlns:a16="http://schemas.microsoft.com/office/drawing/2014/main" id="{707A71CE-218F-6624-D424-AF213464D298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 bwMode="gray">
            <a:xfrm>
              <a:off x="6360439" y="5917262"/>
              <a:ext cx="5219598" cy="369149"/>
            </a:xfrm>
            <a:prstGeom prst="round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Eficiência energética </a:t>
              </a:r>
              <a:endParaRPr kumimoji="0" lang="pt-BR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265DCF11-0E96-CE50-D8DC-89011DB89244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 bwMode="gray">
            <a:xfrm>
              <a:off x="3645167" y="5915102"/>
              <a:ext cx="2483756" cy="369149"/>
            </a:xfrm>
            <a:prstGeom prst="round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Biotecnologia</a:t>
              </a:r>
              <a:endParaRPr kumimoji="0" lang="pt-BR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158FB734-5886-A846-EA75-C5C1281A4983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 bwMode="gray">
            <a:xfrm>
              <a:off x="3633947" y="4618354"/>
              <a:ext cx="5285753" cy="369149"/>
            </a:xfrm>
            <a:prstGeom prst="round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Bioinsumos agrícolas e fertilizante verde</a:t>
              </a:r>
              <a:endParaRPr kumimoji="0" lang="pt-BR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9D9A210A-B4BD-C7DE-00D9-B5C23AEF3363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 bwMode="gray">
            <a:xfrm>
              <a:off x="9151466" y="4618354"/>
              <a:ext cx="2483756" cy="365748"/>
            </a:xfrm>
            <a:prstGeom prst="round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Tecnologias para redes de energia resilientes </a:t>
              </a:r>
              <a:endParaRPr kumimoji="0" lang="pt-BR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btfpBulletedList977009">
              <a:extLst>
                <a:ext uri="{FF2B5EF4-FFF2-40B4-BE49-F238E27FC236}">
                  <a16:creationId xmlns:a16="http://schemas.microsoft.com/office/drawing/2014/main" id="{2D6CD616-A84A-1422-5143-A9BDF6B78F12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 bwMode="gray">
            <a:xfrm>
              <a:off x="3633947" y="3319445"/>
              <a:ext cx="8001276" cy="369149"/>
            </a:xfrm>
            <a:prstGeom prst="round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Combustíveis sustentáveis (exceto etanol de 1ª geração)²</a:t>
              </a:r>
              <a:endParaRPr kumimoji="0" lang="pt-BR" sz="1200" b="0" i="1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8" name="btfpStatusStickerText280292">
            <a:extLst>
              <a:ext uri="{FF2B5EF4-FFF2-40B4-BE49-F238E27FC236}">
                <a16:creationId xmlns:a16="http://schemas.microsoft.com/office/drawing/2014/main" id="{19470E9B-C6C4-4719-8590-B10F2739382D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 rot="5400000">
            <a:off x="3965973" y="1582026"/>
            <a:ext cx="211276" cy="1006334"/>
          </a:xfrm>
          <a:prstGeom prst="rect">
            <a:avLst/>
          </a:prstGeom>
          <a:noFill/>
        </p:spPr>
        <p:txBody>
          <a:bodyPr vert="vert270" wrap="none" lIns="72073" tIns="25226" rIns="0" bIns="25226" rtlCol="0" anchor="t">
            <a:spAutoFit/>
          </a:bodyPr>
          <a:lstStyle/>
          <a:p>
            <a:pPr marL="0" indent="0" algn="ctr">
              <a:spcBef>
                <a:spcPct val="0"/>
              </a:spcBef>
              <a:buNone/>
            </a:pPr>
            <a:r>
              <a:rPr lang="pt-BR" sz="900" b="1" cap="all" spc="450">
                <a:solidFill>
                  <a:srgbClr val="009D2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ores</a:t>
            </a:r>
          </a:p>
        </p:txBody>
      </p:sp>
      <p:sp>
        <p:nvSpPr>
          <p:cNvPr id="79" name="btfpStatusStickerText280292">
            <a:extLst>
              <a:ext uri="{FF2B5EF4-FFF2-40B4-BE49-F238E27FC236}">
                <a16:creationId xmlns:a16="http://schemas.microsoft.com/office/drawing/2014/main" id="{E4ADDA4A-D71C-43CA-9260-9F488DA89650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 rot="5400000">
            <a:off x="4174364" y="2304820"/>
            <a:ext cx="211276" cy="1423115"/>
          </a:xfrm>
          <a:prstGeom prst="rect">
            <a:avLst/>
          </a:prstGeom>
          <a:noFill/>
        </p:spPr>
        <p:txBody>
          <a:bodyPr vert="vert270" wrap="none" lIns="72073" tIns="25226" rIns="0" bIns="25226" rtlCol="0" anchor="t">
            <a:spAutoFit/>
          </a:bodyPr>
          <a:lstStyle/>
          <a:p>
            <a:pPr marL="0" indent="0" algn="ctr">
              <a:spcBef>
                <a:spcPct val="0"/>
              </a:spcBef>
              <a:buNone/>
            </a:pPr>
            <a:r>
              <a:rPr lang="pt-BR" sz="900" b="1" cap="all" spc="450">
                <a:solidFill>
                  <a:srgbClr val="85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setores</a:t>
            </a:r>
          </a:p>
        </p:txBody>
      </p:sp>
      <p:sp>
        <p:nvSpPr>
          <p:cNvPr id="140" name="btfpBulletedList977009">
            <a:extLst>
              <a:ext uri="{FF2B5EF4-FFF2-40B4-BE49-F238E27FC236}">
                <a16:creationId xmlns:a16="http://schemas.microsoft.com/office/drawing/2014/main" id="{D023C3D0-F61D-BD53-DFAF-7D32671AE726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3597000" y="764355"/>
            <a:ext cx="8001275" cy="22239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rgbClr val="4059A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rgbClr val="4059A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no </a:t>
            </a:r>
            <a:r>
              <a:rPr lang="pt-BR" sz="1200" b="1">
                <a:solidFill>
                  <a:srgbClr val="4059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ma</a:t>
            </a:r>
            <a:endParaRPr kumimoji="0" lang="pt-BR" sz="1200" b="1" i="0" u="none" strike="noStrike" kern="1200" cap="none" spc="0" normalizeH="0" baseline="0" noProof="0">
              <a:ln>
                <a:noFill/>
              </a:ln>
              <a:solidFill>
                <a:srgbClr val="4059A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996CF19D-822C-437C-A246-9055DC8CD043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3597542" y="1041405"/>
            <a:ext cx="2483756" cy="374975"/>
          </a:xfrm>
          <a:prstGeom prst="roundRect">
            <a:avLst>
              <a:gd name="adj" fmla="val 11587"/>
            </a:avLst>
          </a:prstGeom>
          <a:solidFill>
            <a:schemeClr val="bg1"/>
          </a:solidFill>
          <a:ln w="9525" cap="flat" cmpd="sng" algn="ctr">
            <a:solidFill>
              <a:srgbClr val="4059A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pt-BR" sz="1200" b="1">
                <a:solidFill>
                  <a:srgbClr val="4059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AVEG</a:t>
            </a: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F53A41C2-C989-435E-A2DF-9DEC36F207BD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6313062" y="1041405"/>
            <a:ext cx="2559015" cy="858991"/>
          </a:xfrm>
          <a:prstGeom prst="roundRect">
            <a:avLst>
              <a:gd name="adj" fmla="val 5393"/>
            </a:avLst>
          </a:prstGeom>
          <a:solidFill>
            <a:schemeClr val="bg1"/>
          </a:solidFill>
          <a:ln w="9525" cap="flat" cmpd="sng" algn="ctr">
            <a:solidFill>
              <a:srgbClr val="4059A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pt-BR" sz="1200" b="1">
                <a:solidFill>
                  <a:srgbClr val="4059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a Indústria Brasil</a:t>
            </a: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D509D76C-94CC-4E2D-A3BC-6F6B54CD3F6E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9103841" y="1041405"/>
            <a:ext cx="2483756" cy="858991"/>
          </a:xfrm>
          <a:prstGeom prst="roundRect">
            <a:avLst>
              <a:gd name="adj" fmla="val 7981"/>
            </a:avLst>
          </a:prstGeom>
          <a:solidFill>
            <a:schemeClr val="bg1"/>
          </a:solidFill>
          <a:ln w="9525" cap="flat" cmpd="sng" algn="ctr">
            <a:solidFill>
              <a:srgbClr val="4059A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pt-BR" sz="1200" b="1">
                <a:solidFill>
                  <a:srgbClr val="4059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o Nacional de Transição Energética</a:t>
            </a:r>
          </a:p>
        </p:txBody>
      </p:sp>
      <p:sp>
        <p:nvSpPr>
          <p:cNvPr id="80" name="btfpBulletedList977009">
            <a:extLst>
              <a:ext uri="{FF2B5EF4-FFF2-40B4-BE49-F238E27FC236}">
                <a16:creationId xmlns:a16="http://schemas.microsoft.com/office/drawing/2014/main" id="{33B3274F-D55A-4AC1-8D09-CC707849AAAE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3586322" y="495927"/>
            <a:ext cx="8001275" cy="22239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rgbClr val="4059A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pt-BR" sz="1200" b="1">
                <a:solidFill>
                  <a:srgbClr val="4059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o de Transformação Ecológica </a:t>
            </a:r>
            <a:endParaRPr kumimoji="0" lang="pt-BR" sz="1200" b="1" i="0" u="none" strike="noStrike" kern="1200" cap="none" spc="0" normalizeH="0" baseline="0" noProof="0">
              <a:ln>
                <a:noFill/>
              </a:ln>
              <a:solidFill>
                <a:srgbClr val="4059A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92F66C5E-B75E-4D39-ACB5-BCB8D815364C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3597542" y="1450162"/>
            <a:ext cx="2483756" cy="212543"/>
          </a:xfrm>
          <a:prstGeom prst="roundRect">
            <a:avLst>
              <a:gd name="adj" fmla="val 19655"/>
            </a:avLst>
          </a:prstGeom>
          <a:solidFill>
            <a:schemeClr val="bg1"/>
          </a:solidFill>
          <a:ln w="9525" cap="flat" cmpd="sng" algn="ctr">
            <a:solidFill>
              <a:srgbClr val="4059A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pt-BR" sz="1200" b="1">
                <a:solidFill>
                  <a:srgbClr val="4059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ARES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82FB37E5-7758-402C-A056-BC4B99113B69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3597542" y="1696486"/>
            <a:ext cx="2483756" cy="212543"/>
          </a:xfrm>
          <a:prstGeom prst="roundRect">
            <a:avLst>
              <a:gd name="adj" fmla="val 16668"/>
            </a:avLst>
          </a:prstGeom>
          <a:solidFill>
            <a:schemeClr val="bg1"/>
          </a:solidFill>
          <a:ln w="9525" cap="flat" cmpd="sng" algn="ctr">
            <a:solidFill>
              <a:srgbClr val="4059A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pt-BR" sz="1200" b="1" err="1">
                <a:solidFill>
                  <a:srgbClr val="4059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Bio</a:t>
            </a:r>
            <a:endParaRPr lang="pt-BR" sz="1200" b="1">
              <a:solidFill>
                <a:srgbClr val="4059A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FA7912D-A322-A507-0A54-92CAB9B3294B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3584402" y="425287"/>
            <a:ext cx="8003195" cy="0"/>
          </a:xfrm>
          <a:prstGeom prst="line">
            <a:avLst/>
          </a:prstGeom>
          <a:ln w="9525" cap="flat" cmpd="sng" algn="ctr">
            <a:solidFill>
              <a:srgbClr val="4059A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C9A6AF-689C-D725-61E7-D7FEAD7D33DA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3584402" y="2190831"/>
            <a:ext cx="8003195" cy="0"/>
          </a:xfrm>
          <a:prstGeom prst="line">
            <a:avLst/>
          </a:prstGeom>
          <a:ln w="9525" cap="flat" cmpd="sng" algn="ctr">
            <a:solidFill>
              <a:srgbClr val="009D2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3DC3ACA-9FB9-B0B9-1D1D-227479A8002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3584402" y="3122016"/>
            <a:ext cx="8003195" cy="0"/>
          </a:xfrm>
          <a:prstGeom prst="line">
            <a:avLst/>
          </a:prstGeom>
          <a:ln w="9525" cap="flat" cmpd="sng" algn="ctr">
            <a:solidFill>
              <a:srgbClr val="85858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btfpNumberBubble830084">
            <a:extLst>
              <a:ext uri="{FF2B5EF4-FFF2-40B4-BE49-F238E27FC236}">
                <a16:creationId xmlns:a16="http://schemas.microsoft.com/office/drawing/2014/main" id="{E603B1D4-6972-5619-B925-C8B1CFD1D1C0}"/>
              </a:ext>
            </a:extLst>
          </p:cNvPr>
          <p:cNvSpPr/>
          <p:nvPr/>
        </p:nvSpPr>
        <p:spPr bwMode="gray">
          <a:xfrm>
            <a:off x="228600" y="621827"/>
            <a:ext cx="317500" cy="3175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01216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kumimoji="1" lang="en-US" b="1">
                <a:solidFill>
                  <a:srgbClr val="012169"/>
                </a:solidFill>
              </a:rPr>
              <a:t>1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C9A6A8C2-F0BE-0559-46B0-E497DCA40926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283650" y="3319445"/>
            <a:ext cx="2459162" cy="3399937"/>
          </a:xfrm>
          <a:prstGeom prst="roundRect">
            <a:avLst>
              <a:gd name="adj" fmla="val 5393"/>
            </a:avLst>
          </a:prstGeom>
          <a:solidFill>
            <a:srgbClr val="000000">
              <a:alpha val="75000"/>
            </a:srgb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pt-BR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necessária a previsão em regulamento </a:t>
            </a:r>
            <a:r>
              <a:rPr lang="pt-BR" sz="1200" dirty="0"/>
              <a:t>de alocar pelo </a:t>
            </a:r>
            <a:r>
              <a:rPr lang="pt-BR" sz="1200"/>
              <a:t>menos 65% </a:t>
            </a:r>
            <a:r>
              <a:rPr lang="pt-BR" sz="1200" dirty="0"/>
              <a:t>dos investimentos, seja por valor ou número de empresas investidas, em subsetores da BIP</a:t>
            </a:r>
            <a:endParaRPr lang="pt-BR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btfpNotesBox126906">
            <a:extLst>
              <a:ext uri="{FF2B5EF4-FFF2-40B4-BE49-F238E27FC236}">
                <a16:creationId xmlns:a16="http://schemas.microsoft.com/office/drawing/2014/main" id="{5F6A3116-28A5-6162-1B70-2BF569A014F5}"/>
              </a:ext>
            </a:extLst>
          </p:cNvPr>
          <p:cNvSpPr txBox="1"/>
          <p:nvPr>
            <p:custDataLst>
              <p:tags r:id="rId23"/>
            </p:custDataLst>
          </p:nvPr>
        </p:nvSpPr>
        <p:spPr bwMode="gray">
          <a:xfrm>
            <a:off x="3666851" y="6638910"/>
            <a:ext cx="8182250" cy="215444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eaLnBrk="0">
              <a:spcBef>
                <a:spcPts val="0"/>
              </a:spcBef>
              <a:buNone/>
            </a:pPr>
            <a:r>
              <a:rPr kumimoji="1" lang="pt-BR" sz="700">
                <a:solidFill>
                  <a:schemeClr val="bg1">
                    <a:lumMod val="50000"/>
                  </a:schemeClr>
                </a:solidFill>
              </a:rPr>
              <a:t>Nota: (1) Para SBN poderão ser considerados critérios adicionais; (2) Exceção de etanol de primeira geração; (3) São eles: Cobalto, Cobre, Estanho, Grafite, Lítio, Manganês, </a:t>
            </a:r>
            <a:r>
              <a:rPr kumimoji="1" lang="pt-BR" sz="700" err="1">
                <a:solidFill>
                  <a:schemeClr val="bg1">
                    <a:lumMod val="50000"/>
                  </a:schemeClr>
                </a:solidFill>
              </a:rPr>
              <a:t>PGMs</a:t>
            </a:r>
            <a:r>
              <a:rPr kumimoji="1" lang="pt-BR" sz="700">
                <a:solidFill>
                  <a:schemeClr val="bg1">
                    <a:lumMod val="50000"/>
                  </a:schemeClr>
                </a:solidFill>
              </a:rPr>
              <a:t>, Molibdênio, Nióbio, Níquel, Silício, Tântalo, Terras Raras, Titânio, Tungstênio, Urânio, Vanádio, Zinco, Fosfato, Potássio ou outros minerais para promoção de fertilidade do solo, inclusive </a:t>
            </a:r>
            <a:r>
              <a:rPr kumimoji="1" lang="pt-BR" sz="700" err="1">
                <a:solidFill>
                  <a:schemeClr val="bg1">
                    <a:lumMod val="50000"/>
                  </a:schemeClr>
                </a:solidFill>
              </a:rPr>
              <a:t>remineralizadores</a:t>
            </a:r>
            <a:r>
              <a:rPr kumimoji="1" lang="pt-BR" sz="700">
                <a:solidFill>
                  <a:schemeClr val="bg1">
                    <a:lumMod val="50000"/>
                  </a:schemeClr>
                </a:solidFill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261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500"/>
                            </p:stCondLst>
                            <p:childTnLst>
                              <p:par>
                                <p:cTn id="4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800"/>
                            </p:stCondLst>
                            <p:childTnLst>
                              <p:par>
                                <p:cTn id="4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300"/>
                            </p:stCondLst>
                            <p:childTnLst>
                              <p:par>
                                <p:cTn id="5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3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8" grpId="0"/>
      <p:bldP spid="79" grpId="0"/>
      <p:bldP spid="140" grpId="0" animBg="1"/>
      <p:bldP spid="75" grpId="0" animBg="1"/>
      <p:bldP spid="76" grpId="0" animBg="1"/>
      <p:bldP spid="77" grpId="0" animBg="1"/>
      <p:bldP spid="80" grpId="0" animBg="1"/>
      <p:bldP spid="81" grpId="0" animBg="1"/>
      <p:bldP spid="82" grpId="0" animBg="1"/>
      <p:bldP spid="48" grpId="0" animBg="1"/>
      <p:bldP spid="5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btfpPhotoGeneric739487">
            <a:extLst>
              <a:ext uri="{FF2B5EF4-FFF2-40B4-BE49-F238E27FC236}">
                <a16:creationId xmlns:a16="http://schemas.microsoft.com/office/drawing/2014/main" id="{4FAB5490-2434-85CB-F631-A326F7B82D2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05" b="1171"/>
          <a:stretch>
            <a:fillRect/>
          </a:stretch>
        </p:blipFill>
        <p:spPr>
          <a:xfrm>
            <a:off x="0" y="-52"/>
            <a:ext cx="12192000" cy="6864025"/>
          </a:xfrm>
          <a:prstGeom prst="round2DiagRect">
            <a:avLst>
              <a:gd name="adj1" fmla="val 0"/>
              <a:gd name="adj2" fmla="val 0"/>
            </a:avLst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345D93AA-84A0-A62B-4394-E03E0DA0B05D}"/>
              </a:ext>
            </a:extLst>
          </p:cNvPr>
          <p:cNvSpPr/>
          <p:nvPr/>
        </p:nvSpPr>
        <p:spPr bwMode="gray">
          <a:xfrm>
            <a:off x="-1" y="-45"/>
            <a:ext cx="12192000" cy="6864024"/>
          </a:xfrm>
          <a:prstGeom prst="rect">
            <a:avLst/>
          </a:prstGeom>
          <a:solidFill>
            <a:srgbClr val="000000">
              <a:alpha val="5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pt-BR" sz="1600">
              <a:solidFill>
                <a:srgbClr val="FFFFFF"/>
              </a:solidFill>
            </a:endParaRPr>
          </a:p>
        </p:txBody>
      </p:sp>
      <p:grpSp>
        <p:nvGrpSpPr>
          <p:cNvPr id="42" name="btfpColumnIndicatorGroup2">
            <a:extLst>
              <a:ext uri="{FF2B5EF4-FFF2-40B4-BE49-F238E27FC236}">
                <a16:creationId xmlns:a16="http://schemas.microsoft.com/office/drawing/2014/main" id="{4DA5CE7C-0DBA-1624-D762-AD5B0FBF5AF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0" name="btfpColumnGapBlocker428105">
              <a:extLst>
                <a:ext uri="{FF2B5EF4-FFF2-40B4-BE49-F238E27FC236}">
                  <a16:creationId xmlns:a16="http://schemas.microsoft.com/office/drawing/2014/main" id="{01BC01B4-05A9-8226-7614-B4CBA233047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sp>
          <p:nvSpPr>
            <p:cNvPr id="38" name="btfpColumnGapBlocker210663">
              <a:extLst>
                <a:ext uri="{FF2B5EF4-FFF2-40B4-BE49-F238E27FC236}">
                  <a16:creationId xmlns:a16="http://schemas.microsoft.com/office/drawing/2014/main" id="{8478FA41-6087-F008-E99C-A743C43C23DE}"/>
                </a:ext>
              </a:extLst>
            </p:cNvPr>
            <p:cNvSpPr/>
            <p:nvPr/>
          </p:nvSpPr>
          <p:spPr bwMode="gray">
            <a:xfrm>
              <a:off x="884555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36" name="btfpColumnIndicator393322">
              <a:extLst>
                <a:ext uri="{FF2B5EF4-FFF2-40B4-BE49-F238E27FC236}">
                  <a16:creationId xmlns:a16="http://schemas.microsoft.com/office/drawing/2014/main" id="{C1FDA1F9-22BA-8949-31E1-21A2F178F82A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btfpColumnIndicator692578">
              <a:extLst>
                <a:ext uri="{FF2B5EF4-FFF2-40B4-BE49-F238E27FC236}">
                  <a16:creationId xmlns:a16="http://schemas.microsoft.com/office/drawing/2014/main" id="{79F45B0A-2F63-F3D6-5CE0-55F18D2113D9}"/>
                </a:ext>
              </a:extLst>
            </p:cNvPr>
            <p:cNvCxnSpPr/>
            <p:nvPr/>
          </p:nvCxnSpPr>
          <p:spPr bwMode="gray">
            <a:xfrm flipV="1">
              <a:off x="937895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btfpColumnGapBlocker894163">
              <a:extLst>
                <a:ext uri="{FF2B5EF4-FFF2-40B4-BE49-F238E27FC236}">
                  <a16:creationId xmlns:a16="http://schemas.microsoft.com/office/drawing/2014/main" id="{758719EF-5203-4654-099D-6A6F2438297E}"/>
                </a:ext>
              </a:extLst>
            </p:cNvPr>
            <p:cNvSpPr/>
            <p:nvPr/>
          </p:nvSpPr>
          <p:spPr bwMode="gray">
            <a:xfrm>
              <a:off x="582930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29" name="btfpColumnIndicator375988">
              <a:extLst>
                <a:ext uri="{FF2B5EF4-FFF2-40B4-BE49-F238E27FC236}">
                  <a16:creationId xmlns:a16="http://schemas.microsoft.com/office/drawing/2014/main" id="{82B5107C-C902-DD83-4841-7CDFC375F7E5}"/>
                </a:ext>
              </a:extLst>
            </p:cNvPr>
            <p:cNvCxnSpPr/>
            <p:nvPr/>
          </p:nvCxnSpPr>
          <p:spPr bwMode="gray">
            <a:xfrm flipV="1">
              <a:off x="884555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535519">
              <a:extLst>
                <a:ext uri="{FF2B5EF4-FFF2-40B4-BE49-F238E27FC236}">
                  <a16:creationId xmlns:a16="http://schemas.microsoft.com/office/drawing/2014/main" id="{C807986C-D229-16F8-D04D-FDED5F4C1218}"/>
                </a:ext>
              </a:extLst>
            </p:cNvPr>
            <p:cNvCxnSpPr/>
            <p:nvPr/>
          </p:nvCxnSpPr>
          <p:spPr bwMode="gray">
            <a:xfrm flipV="1">
              <a:off x="63627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btfpColumnGapBlocker575668">
              <a:extLst>
                <a:ext uri="{FF2B5EF4-FFF2-40B4-BE49-F238E27FC236}">
                  <a16:creationId xmlns:a16="http://schemas.microsoft.com/office/drawing/2014/main" id="{0F60E169-5F76-7A33-E979-CF228A980601}"/>
                </a:ext>
              </a:extLst>
            </p:cNvPr>
            <p:cNvSpPr/>
            <p:nvPr/>
          </p:nvSpPr>
          <p:spPr bwMode="gray">
            <a:xfrm>
              <a:off x="281305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23" name="btfpColumnIndicator115473">
              <a:extLst>
                <a:ext uri="{FF2B5EF4-FFF2-40B4-BE49-F238E27FC236}">
                  <a16:creationId xmlns:a16="http://schemas.microsoft.com/office/drawing/2014/main" id="{715C722D-C42D-C2AB-4E7D-F3A20CC5ED7D}"/>
                </a:ext>
              </a:extLst>
            </p:cNvPr>
            <p:cNvCxnSpPr/>
            <p:nvPr/>
          </p:nvCxnSpPr>
          <p:spPr bwMode="gray">
            <a:xfrm flipV="1">
              <a:off x="58293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295898">
              <a:extLst>
                <a:ext uri="{FF2B5EF4-FFF2-40B4-BE49-F238E27FC236}">
                  <a16:creationId xmlns:a16="http://schemas.microsoft.com/office/drawing/2014/main" id="{3E52E545-D14A-A77C-31D5-24F67DA05DAE}"/>
                </a:ext>
              </a:extLst>
            </p:cNvPr>
            <p:cNvCxnSpPr/>
            <p:nvPr/>
          </p:nvCxnSpPr>
          <p:spPr bwMode="gray">
            <a:xfrm flipV="1">
              <a:off x="334645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btfpColumnGapBlocker621674">
              <a:extLst>
                <a:ext uri="{FF2B5EF4-FFF2-40B4-BE49-F238E27FC236}">
                  <a16:creationId xmlns:a16="http://schemas.microsoft.com/office/drawing/2014/main" id="{BB9E1AC3-6365-B314-CB41-14A690562F8D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16" name="btfpColumnIndicator674702">
              <a:extLst>
                <a:ext uri="{FF2B5EF4-FFF2-40B4-BE49-F238E27FC236}">
                  <a16:creationId xmlns:a16="http://schemas.microsoft.com/office/drawing/2014/main" id="{53ECB2A2-55AC-CA59-783A-A5A50082B8E9}"/>
                </a:ext>
              </a:extLst>
            </p:cNvPr>
            <p:cNvCxnSpPr/>
            <p:nvPr/>
          </p:nvCxnSpPr>
          <p:spPr bwMode="gray">
            <a:xfrm flipV="1">
              <a:off x="281305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492745">
              <a:extLst>
                <a:ext uri="{FF2B5EF4-FFF2-40B4-BE49-F238E27FC236}">
                  <a16:creationId xmlns:a16="http://schemas.microsoft.com/office/drawing/2014/main" id="{116AB77A-2AF9-8B6C-539F-4A69233C4B9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btfpColumnIndicatorGroup1">
            <a:extLst>
              <a:ext uri="{FF2B5EF4-FFF2-40B4-BE49-F238E27FC236}">
                <a16:creationId xmlns:a16="http://schemas.microsoft.com/office/drawing/2014/main" id="{E136593A-AF84-577A-1919-A335FA846051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9" name="btfpColumnGapBlocker785879">
              <a:extLst>
                <a:ext uri="{FF2B5EF4-FFF2-40B4-BE49-F238E27FC236}">
                  <a16:creationId xmlns:a16="http://schemas.microsoft.com/office/drawing/2014/main" id="{4A428477-FB6F-DCDA-72EA-8394F88FFC2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sp>
          <p:nvSpPr>
            <p:cNvPr id="37" name="btfpColumnGapBlocker313378">
              <a:extLst>
                <a:ext uri="{FF2B5EF4-FFF2-40B4-BE49-F238E27FC236}">
                  <a16:creationId xmlns:a16="http://schemas.microsoft.com/office/drawing/2014/main" id="{6451FDFF-7B53-C55D-D767-29CEC8790F6F}"/>
                </a:ext>
              </a:extLst>
            </p:cNvPr>
            <p:cNvSpPr/>
            <p:nvPr/>
          </p:nvSpPr>
          <p:spPr bwMode="gray">
            <a:xfrm>
              <a:off x="884555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35" name="btfpColumnIndicator853728">
              <a:extLst>
                <a:ext uri="{FF2B5EF4-FFF2-40B4-BE49-F238E27FC236}">
                  <a16:creationId xmlns:a16="http://schemas.microsoft.com/office/drawing/2014/main" id="{66B82F4A-75AB-FDB2-F66D-65B0A28593B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btfpColumnIndicator835532">
              <a:extLst>
                <a:ext uri="{FF2B5EF4-FFF2-40B4-BE49-F238E27FC236}">
                  <a16:creationId xmlns:a16="http://schemas.microsoft.com/office/drawing/2014/main" id="{58D89EF2-A9C3-776E-CB26-E2D7016EA09C}"/>
                </a:ext>
              </a:extLst>
            </p:cNvPr>
            <p:cNvCxnSpPr/>
            <p:nvPr/>
          </p:nvCxnSpPr>
          <p:spPr bwMode="gray">
            <a:xfrm flipV="1">
              <a:off x="937895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btfpColumnGapBlocker326195">
              <a:extLst>
                <a:ext uri="{FF2B5EF4-FFF2-40B4-BE49-F238E27FC236}">
                  <a16:creationId xmlns:a16="http://schemas.microsoft.com/office/drawing/2014/main" id="{289640D9-F96C-7A65-CE89-1861FB9A8DC6}"/>
                </a:ext>
              </a:extLst>
            </p:cNvPr>
            <p:cNvSpPr/>
            <p:nvPr/>
          </p:nvSpPr>
          <p:spPr bwMode="gray">
            <a:xfrm>
              <a:off x="582930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28" name="btfpColumnIndicator728859">
              <a:extLst>
                <a:ext uri="{FF2B5EF4-FFF2-40B4-BE49-F238E27FC236}">
                  <a16:creationId xmlns:a16="http://schemas.microsoft.com/office/drawing/2014/main" id="{61BD317A-B354-09E8-0E42-2B9B7FA53316}"/>
                </a:ext>
              </a:extLst>
            </p:cNvPr>
            <p:cNvCxnSpPr/>
            <p:nvPr/>
          </p:nvCxnSpPr>
          <p:spPr bwMode="gray">
            <a:xfrm flipV="1">
              <a:off x="884555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btfpColumnIndicator165851">
              <a:extLst>
                <a:ext uri="{FF2B5EF4-FFF2-40B4-BE49-F238E27FC236}">
                  <a16:creationId xmlns:a16="http://schemas.microsoft.com/office/drawing/2014/main" id="{33B4B672-6425-966A-917E-F328C2F778C2}"/>
                </a:ext>
              </a:extLst>
            </p:cNvPr>
            <p:cNvCxnSpPr/>
            <p:nvPr/>
          </p:nvCxnSpPr>
          <p:spPr bwMode="gray">
            <a:xfrm flipV="1">
              <a:off x="63627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btfpColumnGapBlocker522443">
              <a:extLst>
                <a:ext uri="{FF2B5EF4-FFF2-40B4-BE49-F238E27FC236}">
                  <a16:creationId xmlns:a16="http://schemas.microsoft.com/office/drawing/2014/main" id="{C8222DC6-6A8C-E0B2-7149-BDC17D4D377C}"/>
                </a:ext>
              </a:extLst>
            </p:cNvPr>
            <p:cNvSpPr/>
            <p:nvPr/>
          </p:nvSpPr>
          <p:spPr bwMode="gray">
            <a:xfrm>
              <a:off x="281305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21" name="btfpColumnIndicator546738">
              <a:extLst>
                <a:ext uri="{FF2B5EF4-FFF2-40B4-BE49-F238E27FC236}">
                  <a16:creationId xmlns:a16="http://schemas.microsoft.com/office/drawing/2014/main" id="{3FD8384E-BC37-FE69-B43F-0F5D5CFDABAB}"/>
                </a:ext>
              </a:extLst>
            </p:cNvPr>
            <p:cNvCxnSpPr/>
            <p:nvPr/>
          </p:nvCxnSpPr>
          <p:spPr bwMode="gray">
            <a:xfrm flipV="1">
              <a:off x="58293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btfpColumnIndicator767879">
              <a:extLst>
                <a:ext uri="{FF2B5EF4-FFF2-40B4-BE49-F238E27FC236}">
                  <a16:creationId xmlns:a16="http://schemas.microsoft.com/office/drawing/2014/main" id="{E51B520F-6A60-95D7-D3BD-D63CB4AC24CC}"/>
                </a:ext>
              </a:extLst>
            </p:cNvPr>
            <p:cNvCxnSpPr/>
            <p:nvPr/>
          </p:nvCxnSpPr>
          <p:spPr bwMode="gray">
            <a:xfrm flipV="1">
              <a:off x="334645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btfpColumnGapBlocker959170">
              <a:extLst>
                <a:ext uri="{FF2B5EF4-FFF2-40B4-BE49-F238E27FC236}">
                  <a16:creationId xmlns:a16="http://schemas.microsoft.com/office/drawing/2014/main" id="{A168F49A-6731-1C8F-D783-172FE353E14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15" name="btfpColumnIndicator439368">
              <a:extLst>
                <a:ext uri="{FF2B5EF4-FFF2-40B4-BE49-F238E27FC236}">
                  <a16:creationId xmlns:a16="http://schemas.microsoft.com/office/drawing/2014/main" id="{3DF8B5E1-C925-EE18-386E-2FDB7B38A78A}"/>
                </a:ext>
              </a:extLst>
            </p:cNvPr>
            <p:cNvCxnSpPr/>
            <p:nvPr/>
          </p:nvCxnSpPr>
          <p:spPr bwMode="gray">
            <a:xfrm flipV="1">
              <a:off x="281305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826684">
              <a:extLst>
                <a:ext uri="{FF2B5EF4-FFF2-40B4-BE49-F238E27FC236}">
                  <a16:creationId xmlns:a16="http://schemas.microsoft.com/office/drawing/2014/main" id="{2EAA3021-A5D7-37D1-12EA-B116D6CE49AC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6ED731A6-A21B-C7B7-E393-56CC812290C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41261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D731A6-A21B-C7B7-E393-56CC81229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21">
            <a:extLst>
              <a:ext uri="{FF2B5EF4-FFF2-40B4-BE49-F238E27FC236}">
                <a16:creationId xmlns:a16="http://schemas.microsoft.com/office/drawing/2014/main" id="{9E509DB0-58F5-54A4-4297-43D021C2ED7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87607" y="1249427"/>
            <a:ext cx="2366260" cy="1051116"/>
          </a:xfrm>
        </p:spPr>
        <p:txBody>
          <a:bodyPr vert="horz">
            <a:normAutofit fontScale="90000"/>
          </a:bodyPr>
          <a:lstStyle/>
          <a:p>
            <a:r>
              <a:rPr lang="pt-BR" dirty="0">
                <a:solidFill>
                  <a:schemeClr val="bg1"/>
                </a:solidFill>
              </a:rPr>
              <a:t>Critérios excludentes para mecanismos entrarem na plataforma</a:t>
            </a:r>
          </a:p>
        </p:txBody>
      </p:sp>
      <p:sp>
        <p:nvSpPr>
          <p:cNvPr id="45" name="btfpNumberBubble830084">
            <a:extLst>
              <a:ext uri="{FF2B5EF4-FFF2-40B4-BE49-F238E27FC236}">
                <a16:creationId xmlns:a16="http://schemas.microsoft.com/office/drawing/2014/main" id="{E603B1D4-6972-5619-B925-C8B1CFD1D1C0}"/>
              </a:ext>
            </a:extLst>
          </p:cNvPr>
          <p:cNvSpPr/>
          <p:nvPr/>
        </p:nvSpPr>
        <p:spPr bwMode="gray">
          <a:xfrm>
            <a:off x="228600" y="621827"/>
            <a:ext cx="317500" cy="3175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01216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kumimoji="1" lang="en-US" b="1">
                <a:solidFill>
                  <a:srgbClr val="012169"/>
                </a:solidFill>
              </a:rPr>
              <a:t>2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C9A6A8C2-F0BE-0559-46B0-E497DCA40926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83650" y="3319445"/>
            <a:ext cx="2459162" cy="3399938"/>
          </a:xfrm>
          <a:prstGeom prst="roundRect">
            <a:avLst>
              <a:gd name="adj" fmla="val 5393"/>
            </a:avLst>
          </a:prstGeom>
          <a:solidFill>
            <a:srgbClr val="000000">
              <a:alpha val="75000"/>
            </a:srgb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pt-BR" sz="12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necessária previsão em regulamento </a:t>
            </a:r>
            <a:r>
              <a:rPr lang="pt-BR" sz="12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pt-BR" sz="1200"/>
              <a:t>cláusula de restrição de investimento para</a:t>
            </a:r>
            <a:r>
              <a:rPr lang="pt-BR" sz="1200" b="1"/>
              <a:t> setores vetados pela Lista de Atividades não apoiáveis BIP</a:t>
            </a:r>
          </a:p>
        </p:txBody>
      </p:sp>
      <p:sp>
        <p:nvSpPr>
          <p:cNvPr id="57" name="Rectangle: Single Corner Rounded 56">
            <a:extLst>
              <a:ext uri="{FF2B5EF4-FFF2-40B4-BE49-F238E27FC236}">
                <a16:creationId xmlns:a16="http://schemas.microsoft.com/office/drawing/2014/main" id="{60373A7C-4BA1-6ED5-0FCE-D81C271F4D21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 rot="10800000" flipH="1" flipV="1">
            <a:off x="3162300" y="-1"/>
            <a:ext cx="8699500" cy="6858001"/>
          </a:xfrm>
          <a:prstGeom prst="round1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btfpStatusStickerText280292">
            <a:extLst>
              <a:ext uri="{FF2B5EF4-FFF2-40B4-BE49-F238E27FC236}">
                <a16:creationId xmlns:a16="http://schemas.microsoft.com/office/drawing/2014/main" id="{90F4EA30-8523-700C-2F52-427F3C297983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 rot="5400000">
            <a:off x="6157373" y="-2280357"/>
            <a:ext cx="318998" cy="5818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CE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vert270" wrap="none" lIns="72073" tIns="25226" rIns="0" bIns="25226" rtlCol="0" anchor="t">
            <a:spAutoFit/>
          </a:bodyPr>
          <a:lstStyle/>
          <a:p>
            <a:pPr marL="0" indent="0" algn="ctr">
              <a:spcBef>
                <a:spcPct val="0"/>
              </a:spcBef>
              <a:buNone/>
            </a:pPr>
            <a:r>
              <a:rPr lang="pt-BR" b="1" cap="all" spc="450">
                <a:solidFill>
                  <a:srgbClr val="AB89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A DE ATIVIDADES NÃO APOIÁVEIS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BDE529EF-1DD7-7135-B2D0-FEC86B12FAA9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3407854" y="828756"/>
            <a:ext cx="8003195" cy="0"/>
          </a:xfrm>
          <a:prstGeom prst="line">
            <a:avLst/>
          </a:prstGeom>
          <a:ln w="9525" cap="flat" cmpd="sng" algn="ctr">
            <a:solidFill>
              <a:srgbClr val="FFCE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2" name="btfpTable27243518">
            <a:extLst>
              <a:ext uri="{FF2B5EF4-FFF2-40B4-BE49-F238E27FC236}">
                <a16:creationId xmlns:a16="http://schemas.microsoft.com/office/drawing/2014/main" id="{C61B7FED-59F1-172E-F01F-EC9ED2201993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</p:nvPr>
        </p:nvGraphicFramePr>
        <p:xfrm>
          <a:off x="8670751" y="1085216"/>
          <a:ext cx="2975149" cy="5144135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793922">
                  <a:extLst>
                    <a:ext uri="{9D8B030D-6E8A-4147-A177-3AD203B41FA5}">
                      <a16:colId xmlns:a16="http://schemas.microsoft.com/office/drawing/2014/main" val="2532974803"/>
                    </a:ext>
                  </a:extLst>
                </a:gridCol>
                <a:gridCol w="2181227">
                  <a:extLst>
                    <a:ext uri="{9D8B030D-6E8A-4147-A177-3AD203B41FA5}">
                      <a16:colId xmlns:a16="http://schemas.microsoft.com/office/drawing/2014/main" val="353943458"/>
                    </a:ext>
                  </a:extLst>
                </a:gridCol>
              </a:tblGrid>
              <a:tr h="457257">
                <a:tc rowSpan="10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pt-BR" sz="1200">
                          <a:solidFill>
                            <a:srgbClr val="000000"/>
                          </a:solidFill>
                        </a:rPr>
                        <a:t>Outros</a:t>
                      </a: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pt-BR" sz="1200" b="1">
                          <a:solidFill>
                            <a:srgbClr val="000000"/>
                          </a:solidFill>
                        </a:rPr>
                        <a:t>Outros poluentes²</a:t>
                      </a: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7650778"/>
                  </a:ext>
                </a:extLst>
              </a:tr>
              <a:tr h="457257">
                <a:tc v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pt-BR" sz="1200">
                        <a:solidFill>
                          <a:srgbClr val="FFFFFF"/>
                        </a:solidFill>
                      </a:endParaRP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pt-BR" sz="1200" b="1">
                          <a:solidFill>
                            <a:srgbClr val="000000"/>
                          </a:solidFill>
                        </a:rPr>
                        <a:t>Jogos de azar e apostas</a:t>
                      </a: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66243977"/>
                  </a:ext>
                </a:extLst>
              </a:tr>
              <a:tr h="457257">
                <a:tc v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pt-BR" sz="1200">
                        <a:solidFill>
                          <a:srgbClr val="FFFFFF"/>
                        </a:solidFill>
                      </a:endParaRP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pt-BR" sz="1200" b="1">
                          <a:solidFill>
                            <a:srgbClr val="000000"/>
                          </a:solidFill>
                        </a:rPr>
                        <a:t>Motéis</a:t>
                      </a: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43162165"/>
                  </a:ext>
                </a:extLst>
              </a:tr>
              <a:tr h="457257">
                <a:tc v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pt-BR" sz="1200">
                        <a:solidFill>
                          <a:srgbClr val="FFFFFF"/>
                        </a:solidFill>
                      </a:endParaRP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pt-BR" sz="1200" b="1">
                          <a:solidFill>
                            <a:srgbClr val="000000"/>
                          </a:solidFill>
                        </a:rPr>
                        <a:t>Saunas e termas</a:t>
                      </a: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9782725"/>
                  </a:ext>
                </a:extLst>
              </a:tr>
              <a:tr h="457257">
                <a:tc v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pt-BR" sz="1200">
                        <a:solidFill>
                          <a:srgbClr val="FFFFFF"/>
                        </a:solidFill>
                      </a:endParaRP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pt-BR" sz="1200" b="1">
                          <a:solidFill>
                            <a:srgbClr val="000000"/>
                          </a:solidFill>
                        </a:rPr>
                        <a:t>Clubes</a:t>
                      </a: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7435452"/>
                  </a:ext>
                </a:extLst>
              </a:tr>
              <a:tr h="762092">
                <a:tc v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pt-BR" sz="1200">
                        <a:solidFill>
                          <a:srgbClr val="FFFFFF"/>
                        </a:solidFill>
                      </a:endParaRP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pt-BR" sz="1200" b="1"/>
                        <a:t>Comercialização de armas e munições</a:t>
                      </a: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91080629"/>
                  </a:ext>
                </a:extLst>
              </a:tr>
              <a:tr h="457257">
                <a:tc v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pt-BR" sz="1200">
                        <a:solidFill>
                          <a:srgbClr val="FFFFFF"/>
                        </a:solidFill>
                      </a:endParaRP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pt-BR" sz="1200" b="1">
                          <a:solidFill>
                            <a:srgbClr val="000000"/>
                          </a:solidFill>
                        </a:rPr>
                        <a:t>Indústria de tabaco</a:t>
                      </a: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7108969"/>
                  </a:ext>
                </a:extLst>
              </a:tr>
              <a:tr h="723987">
                <a:tc v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pt-BR" sz="1200">
                        <a:solidFill>
                          <a:srgbClr val="FFFFFF"/>
                        </a:solidFill>
                      </a:endParaRP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pt-BR" sz="1200" b="1"/>
                        <a:t>Bebidas alcóolicas </a:t>
                      </a:r>
                      <a:br>
                        <a:rPr lang="pt-BR" sz="1200" b="1"/>
                      </a:br>
                      <a:r>
                        <a:rPr lang="pt-BR" sz="1050" b="0"/>
                        <a:t>(exceção vinho e cerveja)</a:t>
                      </a: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9285321"/>
                  </a:ext>
                </a:extLst>
              </a:tr>
              <a:tr h="457257">
                <a:tc v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pt-BR" sz="1200">
                        <a:solidFill>
                          <a:srgbClr val="FFFFFF"/>
                        </a:solidFill>
                      </a:endParaRP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pt-BR" sz="1200" b="1"/>
                        <a:t>Pornografia/prostituição</a:t>
                      </a: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8612763"/>
                  </a:ext>
                </a:extLst>
              </a:tr>
              <a:tr h="457257">
                <a:tc v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pt-BR" sz="1200">
                        <a:solidFill>
                          <a:srgbClr val="FFFFFF"/>
                        </a:solidFill>
                      </a:endParaRP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pt-BR" sz="1200" b="1"/>
                        <a:t>Mídia</a:t>
                      </a: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50921684"/>
                  </a:ext>
                </a:extLst>
              </a:tr>
            </a:tbl>
          </a:graphicData>
        </a:graphic>
      </p:graphicFrame>
      <p:graphicFrame>
        <p:nvGraphicFramePr>
          <p:cNvPr id="73" name="btfpTable272435">
            <a:extLst>
              <a:ext uri="{FF2B5EF4-FFF2-40B4-BE49-F238E27FC236}">
                <a16:creationId xmlns:a16="http://schemas.microsoft.com/office/drawing/2014/main" id="{2E1AE7DE-B22A-F0F1-2A18-9F3B071B23CC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</p:nvPr>
        </p:nvGraphicFramePr>
        <p:xfrm>
          <a:off x="3632026" y="1085216"/>
          <a:ext cx="4568999" cy="5144126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212312">
                  <a:extLst>
                    <a:ext uri="{9D8B030D-6E8A-4147-A177-3AD203B41FA5}">
                      <a16:colId xmlns:a16="http://schemas.microsoft.com/office/drawing/2014/main" val="2527520684"/>
                    </a:ext>
                  </a:extLst>
                </a:gridCol>
                <a:gridCol w="3356687">
                  <a:extLst>
                    <a:ext uri="{9D8B030D-6E8A-4147-A177-3AD203B41FA5}">
                      <a16:colId xmlns:a16="http://schemas.microsoft.com/office/drawing/2014/main" val="2532974803"/>
                    </a:ext>
                  </a:extLst>
                </a:gridCol>
              </a:tblGrid>
              <a:tr h="753714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pt-BR" sz="1200">
                          <a:solidFill>
                            <a:srgbClr val="000000"/>
                          </a:solidFill>
                        </a:rPr>
                        <a:t>Agropecuária</a:t>
                      </a: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pt-BR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Empreendimentos agropecuários não inscritos no </a:t>
                      </a:r>
                      <a:r>
                        <a:rPr lang="pt-BR" sz="1200" b="1" i="0" u="none" strike="noStrike" kern="1200">
                          <a:solidFill>
                            <a:srgbClr val="AB8933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Cadastro Ambiental Rural (CAR)</a:t>
                      </a:r>
                      <a:endParaRPr lang="pt-BR" sz="1200" b="1">
                        <a:solidFill>
                          <a:srgbClr val="AB8933"/>
                        </a:solidFill>
                      </a:endParaRP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7650778"/>
                  </a:ext>
                </a:extLst>
              </a:tr>
              <a:tr h="753714">
                <a:tc rowSpan="5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pt-BR" sz="1200">
                          <a:solidFill>
                            <a:srgbClr val="000000"/>
                          </a:solidFill>
                        </a:rPr>
                        <a:t>Mineração e energia</a:t>
                      </a: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pt-BR" sz="1200">
                          <a:solidFill>
                            <a:srgbClr val="000000"/>
                          </a:solidFill>
                        </a:rPr>
                        <a:t>Extração, transporte, comercialização ou geração de energia a partir de </a:t>
                      </a:r>
                      <a:r>
                        <a:rPr lang="pt-BR" sz="1200" b="1">
                          <a:solidFill>
                            <a:srgbClr val="AB8933"/>
                          </a:solidFill>
                        </a:rPr>
                        <a:t>carvão mineral</a:t>
                      </a:r>
                      <a:endParaRPr lang="pt-BR" sz="1200" b="0">
                        <a:solidFill>
                          <a:srgbClr val="AB8933"/>
                        </a:solidFill>
                      </a:endParaRP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43162165"/>
                  </a:ext>
                </a:extLst>
              </a:tr>
              <a:tr h="753714">
                <a:tc v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pt-BR" sz="1200">
                        <a:solidFill>
                          <a:srgbClr val="000000"/>
                        </a:solidFill>
                      </a:endParaRP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pt-BR" sz="1200">
                          <a:solidFill>
                            <a:srgbClr val="000000"/>
                          </a:solidFill>
                        </a:rPr>
                        <a:t>Extração, transporte, comercialização ou geração de energia a partir de </a:t>
                      </a:r>
                      <a:r>
                        <a:rPr lang="pt-BR" sz="1200" b="1" kern="1200">
                          <a:solidFill>
                            <a:srgbClr val="AB8933"/>
                          </a:solidFill>
                          <a:latin typeface="+mn-lt"/>
                          <a:ea typeface="+mn-ea"/>
                          <a:cs typeface="+mn-cs"/>
                        </a:rPr>
                        <a:t>petróleo e seus derivados</a:t>
                      </a: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9782725"/>
                  </a:ext>
                </a:extLst>
              </a:tr>
              <a:tr h="931556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pt-BR" sz="1200">
                          <a:solidFill>
                            <a:srgbClr val="000000"/>
                          </a:solidFill>
                        </a:rPr>
                        <a:t>Extração, transporte, comercialização ou geração de energia a partir de </a:t>
                      </a:r>
                      <a:r>
                        <a:rPr lang="pt-BR" sz="1200" b="1" kern="1200">
                          <a:solidFill>
                            <a:srgbClr val="AB8933"/>
                          </a:solidFill>
                          <a:latin typeface="+mn-lt"/>
                          <a:ea typeface="+mn-ea"/>
                          <a:cs typeface="+mn-cs"/>
                        </a:rPr>
                        <a:t>gás natural </a:t>
                      </a:r>
                      <a:r>
                        <a:rPr lang="pt-BR" sz="1200" b="0">
                          <a:solidFill>
                            <a:srgbClr val="000000"/>
                          </a:solidFill>
                        </a:rPr>
                        <a:t>sem transição prevista¹</a:t>
                      </a:r>
                      <a:endParaRPr lang="pt-BR" sz="1200" b="1">
                        <a:solidFill>
                          <a:srgbClr val="000000"/>
                        </a:solidFill>
                      </a:endParaRP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1890800"/>
                  </a:ext>
                </a:extLst>
              </a:tr>
              <a:tr h="753714">
                <a:tc v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pt-BR" sz="1200">
                        <a:solidFill>
                          <a:srgbClr val="000000"/>
                        </a:solidFill>
                      </a:endParaRP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pt-BR" sz="1200">
                          <a:solidFill>
                            <a:srgbClr val="000000"/>
                          </a:solidFill>
                        </a:rPr>
                        <a:t>Empreendimentos de mineração que incorporem processo de </a:t>
                      </a:r>
                      <a:r>
                        <a:rPr lang="pt-BR" sz="1200" b="1" kern="1200">
                          <a:solidFill>
                            <a:srgbClr val="AB8933"/>
                          </a:solidFill>
                          <a:latin typeface="+mn-lt"/>
                          <a:ea typeface="+mn-ea"/>
                          <a:cs typeface="+mn-cs"/>
                        </a:rPr>
                        <a:t>lavra rudimentar ou garimpo</a:t>
                      </a:r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7435452"/>
                  </a:ext>
                </a:extLst>
              </a:tr>
              <a:tr h="1197714">
                <a:tc v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pt-PT" sz="1200"/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pt-BR" sz="1200">
                          <a:solidFill>
                            <a:srgbClr val="000000"/>
                          </a:solidFill>
                        </a:rPr>
                        <a:t>Empreendimentos de mineração, inclusive na fase de pesquisa, </a:t>
                      </a:r>
                      <a:r>
                        <a:rPr lang="pt-BR" sz="1200" b="1" kern="1200">
                          <a:solidFill>
                            <a:srgbClr val="AB8933"/>
                          </a:solidFill>
                          <a:latin typeface="+mn-lt"/>
                          <a:ea typeface="+mn-ea"/>
                          <a:cs typeface="+mn-cs"/>
                        </a:rPr>
                        <a:t>localizados em terras indígenas</a:t>
                      </a:r>
                      <a:r>
                        <a:rPr lang="pt-BR" sz="1200" b="1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pt-BR" sz="1200">
                          <a:solidFill>
                            <a:srgbClr val="000000"/>
                          </a:solidFill>
                        </a:rPr>
                        <a:t>de ocupação tradicional (art. 231 da Constituição Federal)</a:t>
                      </a:r>
                      <a:endParaRPr lang="pt-BR" sz="1200"/>
                    </a:p>
                  </a:txBody>
                  <a:tcPr marL="72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91080629"/>
                  </a:ext>
                </a:extLst>
              </a:tr>
            </a:tbl>
          </a:graphicData>
        </a:graphic>
      </p:graphicFrame>
      <p:sp>
        <p:nvSpPr>
          <p:cNvPr id="74" name="btfpNotesBox126906">
            <a:extLst>
              <a:ext uri="{FF2B5EF4-FFF2-40B4-BE49-F238E27FC236}">
                <a16:creationId xmlns:a16="http://schemas.microsoft.com/office/drawing/2014/main" id="{75853EE2-665D-4BC1-13B1-B438970B15CD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3644625" y="6542987"/>
            <a:ext cx="7407081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 eaLnBrk="0">
              <a:spcBef>
                <a:spcPts val="0"/>
              </a:spcBef>
              <a:buNone/>
            </a:pPr>
            <a:r>
              <a:rPr kumimoji="1" lang="pt-BR" sz="800">
                <a:solidFill>
                  <a:srgbClr val="5C5C5C"/>
                </a:solidFill>
              </a:rPr>
              <a:t>Nota: (1) Investimento em gás natural será permitido nas hipóteses de transição previstas na Taxonomia Sustentável Brasileira; 2) Inclui </a:t>
            </a:r>
            <a:r>
              <a:rPr lang="pt-BR" sz="800" b="0">
                <a:solidFill>
                  <a:srgbClr val="5C5C5C"/>
                </a:solidFill>
              </a:rPr>
              <a:t>substâncias perigosas sujeitas a proibição internacional</a:t>
            </a:r>
            <a:endParaRPr kumimoji="1" lang="pt-BR" sz="800">
              <a:solidFill>
                <a:srgbClr val="5C5C5C"/>
              </a:solidFill>
            </a:endParaRPr>
          </a:p>
        </p:txBody>
      </p:sp>
      <p:sp>
        <p:nvSpPr>
          <p:cNvPr id="83" name="Freeform: Shape 82">
            <a:extLst>
              <a:ext uri="{FF2B5EF4-FFF2-40B4-BE49-F238E27FC236}">
                <a16:creationId xmlns:a16="http://schemas.microsoft.com/office/drawing/2014/main" id="{368509C3-C889-2808-1133-A97A69928A1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 flipH="1">
            <a:off x="11061231" y="5518943"/>
            <a:ext cx="810094" cy="1362075"/>
          </a:xfrm>
          <a:custGeom>
            <a:avLst/>
            <a:gdLst>
              <a:gd name="connsiteX0" fmla="*/ 0 w 704300"/>
              <a:gd name="connsiteY0" fmla="*/ 1184195 h 1184194"/>
              <a:gd name="connsiteX1" fmla="*/ 704300 w 704300"/>
              <a:gd name="connsiteY1" fmla="*/ 1184195 h 1184194"/>
              <a:gd name="connsiteX2" fmla="*/ 0 w 704300"/>
              <a:gd name="connsiteY2" fmla="*/ 0 h 1184194"/>
              <a:gd name="connsiteX3" fmla="*/ 0 w 704300"/>
              <a:gd name="connsiteY3" fmla="*/ 1184195 h 118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300" h="1184194">
                <a:moveTo>
                  <a:pt x="0" y="1184195"/>
                </a:moveTo>
                <a:lnTo>
                  <a:pt x="704300" y="1184195"/>
                </a:lnTo>
                <a:lnTo>
                  <a:pt x="0" y="0"/>
                </a:lnTo>
                <a:lnTo>
                  <a:pt x="0" y="1184195"/>
                </a:lnTo>
                <a:close/>
              </a:path>
            </a:pathLst>
          </a:custGeom>
          <a:solidFill>
            <a:srgbClr val="FFCE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1465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7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btfpColumnIndicatorGroup2">
            <a:extLst>
              <a:ext uri="{FF2B5EF4-FFF2-40B4-BE49-F238E27FC236}">
                <a16:creationId xmlns:a16="http://schemas.microsoft.com/office/drawing/2014/main" id="{C4A7A39F-545B-A360-6FA1-0286248957D2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0" name="btfpColumnGapBlocker135150">
              <a:extLst>
                <a:ext uri="{FF2B5EF4-FFF2-40B4-BE49-F238E27FC236}">
                  <a16:creationId xmlns:a16="http://schemas.microsoft.com/office/drawing/2014/main" id="{685E2E45-9C0B-8DDC-5DA8-9D19C2832A1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sp>
          <p:nvSpPr>
            <p:cNvPr id="18" name="btfpColumnGapBlocker244309">
              <a:extLst>
                <a:ext uri="{FF2B5EF4-FFF2-40B4-BE49-F238E27FC236}">
                  <a16:creationId xmlns:a16="http://schemas.microsoft.com/office/drawing/2014/main" id="{B9B46774-8078-E4C8-A35D-808B1BB810CD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15" name="btfpColumnIndicator960365">
              <a:extLst>
                <a:ext uri="{FF2B5EF4-FFF2-40B4-BE49-F238E27FC236}">
                  <a16:creationId xmlns:a16="http://schemas.microsoft.com/office/drawing/2014/main" id="{09F4A473-EB1C-DC46-B657-43884A6B525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btfpColumnIndicator586344">
              <a:extLst>
                <a:ext uri="{FF2B5EF4-FFF2-40B4-BE49-F238E27FC236}">
                  <a16:creationId xmlns:a16="http://schemas.microsoft.com/office/drawing/2014/main" id="{1C38A97F-1213-4ABF-68E4-87F66FDB928B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btfpColumnIndicatorGroup1">
            <a:extLst>
              <a:ext uri="{FF2B5EF4-FFF2-40B4-BE49-F238E27FC236}">
                <a16:creationId xmlns:a16="http://schemas.microsoft.com/office/drawing/2014/main" id="{2F0BE365-323A-17A6-709C-2C7E56720C5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9" name="btfpColumnGapBlocker168520">
              <a:extLst>
                <a:ext uri="{FF2B5EF4-FFF2-40B4-BE49-F238E27FC236}">
                  <a16:creationId xmlns:a16="http://schemas.microsoft.com/office/drawing/2014/main" id="{21D4D2DA-54DA-174D-146D-BE7CAC6B312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sp>
          <p:nvSpPr>
            <p:cNvPr id="16" name="btfpColumnGapBlocker912966">
              <a:extLst>
                <a:ext uri="{FF2B5EF4-FFF2-40B4-BE49-F238E27FC236}">
                  <a16:creationId xmlns:a16="http://schemas.microsoft.com/office/drawing/2014/main" id="{BEB4273D-99B5-D4ED-304B-10CC75E78E45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dk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kumimoji="1" lang="pt-BR">
                <a:solidFill>
                  <a:schemeClr val="dk1"/>
                </a:solidFill>
              </a:endParaRPr>
            </a:p>
          </p:txBody>
        </p:sp>
        <p:cxnSp>
          <p:nvCxnSpPr>
            <p:cNvPr id="14" name="btfpColumnIndicator810489">
              <a:extLst>
                <a:ext uri="{FF2B5EF4-FFF2-40B4-BE49-F238E27FC236}">
                  <a16:creationId xmlns:a16="http://schemas.microsoft.com/office/drawing/2014/main" id="{2CE797CF-EAAF-0FA4-F163-C50BE3090ED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659729">
              <a:extLst>
                <a:ext uri="{FF2B5EF4-FFF2-40B4-BE49-F238E27FC236}">
                  <a16:creationId xmlns:a16="http://schemas.microsoft.com/office/drawing/2014/main" id="{069766F1-E1C1-E5E5-74C9-A153891423F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563CED1F-A9AC-5E97-0E8F-594E3BC474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3CED1F-A9AC-5E97-0E8F-594E3BC47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1E7EE5DF-3EA9-D048-21CC-AA94090DADF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7721600" y="3570288"/>
            <a:ext cx="4470400" cy="3287712"/>
          </a:xfrm>
          <a:prstGeom prst="rect">
            <a:avLst/>
          </a:prstGeom>
          <a:solidFill>
            <a:srgbClr val="FFCE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pt-BR" sz="1600">
              <a:solidFill>
                <a:srgbClr val="211E20"/>
              </a:solidFill>
            </a:endParaRPr>
          </a:p>
        </p:txBody>
      </p:sp>
      <p:pic>
        <p:nvPicPr>
          <p:cNvPr id="33" name="Picture 32" descr="A river with trees and a sunset&#10;&#10;Description automatically generated">
            <a:extLst>
              <a:ext uri="{FF2B5EF4-FFF2-40B4-BE49-F238E27FC236}">
                <a16:creationId xmlns:a16="http://schemas.microsoft.com/office/drawing/2014/main" id="{8E45A714-273D-EDED-3FCE-174B3037890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79" t="1766" b="9948"/>
          <a:stretch>
            <a:fillRect/>
          </a:stretch>
        </p:blipFill>
        <p:spPr>
          <a:xfrm>
            <a:off x="546100" y="1"/>
            <a:ext cx="11645896" cy="6857999"/>
          </a:xfrm>
          <a:custGeom>
            <a:avLst/>
            <a:gdLst>
              <a:gd name="connsiteX0" fmla="*/ 0 w 11645896"/>
              <a:gd name="connsiteY0" fmla="*/ 0 h 6857999"/>
              <a:gd name="connsiteX1" fmla="*/ 11645896 w 11645896"/>
              <a:gd name="connsiteY1" fmla="*/ 0 h 6857999"/>
              <a:gd name="connsiteX2" fmla="*/ 11645896 w 11645896"/>
              <a:gd name="connsiteY2" fmla="*/ 4806565 h 6857999"/>
              <a:gd name="connsiteX3" fmla="*/ 9594462 w 11645896"/>
              <a:gd name="connsiteY3" fmla="*/ 6857999 h 6857999"/>
              <a:gd name="connsiteX4" fmla="*/ 0 w 11645896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45896" h="6857999">
                <a:moveTo>
                  <a:pt x="0" y="0"/>
                </a:moveTo>
                <a:lnTo>
                  <a:pt x="11645896" y="0"/>
                </a:lnTo>
                <a:lnTo>
                  <a:pt x="11645896" y="4806565"/>
                </a:lnTo>
                <a:cubicBezTo>
                  <a:pt x="11645896" y="5939541"/>
                  <a:pt x="10727438" y="6857999"/>
                  <a:pt x="9594462" y="6857999"/>
                </a:cubicBezTo>
                <a:lnTo>
                  <a:pt x="0" y="6857999"/>
                </a:lnTo>
                <a:close/>
              </a:path>
            </a:pathLst>
          </a:cu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F568C9F-D080-9993-4A3F-68FA18555A1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flipV="1">
            <a:off x="0" y="0"/>
            <a:ext cx="6201282" cy="6858000"/>
          </a:xfrm>
          <a:custGeom>
            <a:avLst/>
            <a:gdLst>
              <a:gd name="connsiteX0" fmla="*/ 0 w 4041874"/>
              <a:gd name="connsiteY0" fmla="*/ 0 h 4469909"/>
              <a:gd name="connsiteX1" fmla="*/ 0 w 4041874"/>
              <a:gd name="connsiteY1" fmla="*/ 4469910 h 4469909"/>
              <a:gd name="connsiteX2" fmla="*/ 4041874 w 4041874"/>
              <a:gd name="connsiteY2" fmla="*/ 4469910 h 4469909"/>
              <a:gd name="connsiteX3" fmla="*/ 1383396 w 4041874"/>
              <a:gd name="connsiteY3" fmla="*/ 0 h 4469909"/>
              <a:gd name="connsiteX4" fmla="*/ 0 w 4041874"/>
              <a:gd name="connsiteY4" fmla="*/ 0 h 4469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41873" h="4469909">
                <a:moveTo>
                  <a:pt x="0" y="0"/>
                </a:moveTo>
                <a:lnTo>
                  <a:pt x="0" y="4469910"/>
                </a:lnTo>
                <a:lnTo>
                  <a:pt x="4041874" y="4469910"/>
                </a:lnTo>
                <a:lnTo>
                  <a:pt x="138339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4138" cap="flat">
            <a:noFill/>
            <a:prstDash val="solid"/>
            <a:miter/>
          </a:ln>
        </p:spPr>
        <p:txBody>
          <a:bodyPr rtlCol="0" anchor="ctr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79A155B-F9A8-CEAD-0696-6BF34762CBF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flipV="1">
            <a:off x="5207000" y="-2"/>
            <a:ext cx="994282" cy="1671765"/>
          </a:xfrm>
          <a:custGeom>
            <a:avLst/>
            <a:gdLst>
              <a:gd name="connsiteX0" fmla="*/ 0 w 704300"/>
              <a:gd name="connsiteY0" fmla="*/ 1184195 h 1184194"/>
              <a:gd name="connsiteX1" fmla="*/ 704300 w 704300"/>
              <a:gd name="connsiteY1" fmla="*/ 1184195 h 1184194"/>
              <a:gd name="connsiteX2" fmla="*/ 0 w 704300"/>
              <a:gd name="connsiteY2" fmla="*/ 0 h 1184194"/>
              <a:gd name="connsiteX3" fmla="*/ 0 w 704300"/>
              <a:gd name="connsiteY3" fmla="*/ 1184195 h 118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300" h="1184194">
                <a:moveTo>
                  <a:pt x="0" y="1184195"/>
                </a:moveTo>
                <a:lnTo>
                  <a:pt x="704300" y="1184195"/>
                </a:lnTo>
                <a:lnTo>
                  <a:pt x="0" y="0"/>
                </a:lnTo>
                <a:lnTo>
                  <a:pt x="0" y="1184195"/>
                </a:lnTo>
                <a:close/>
              </a:path>
            </a:pathLst>
          </a:custGeom>
          <a:solidFill>
            <a:srgbClr val="183E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211E2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pic>
        <p:nvPicPr>
          <p:cNvPr id="24" name="Picture 23" descr="A logo with blue green yellow and blue text&#10;&#10;Description automatically generated">
            <a:extLst>
              <a:ext uri="{FF2B5EF4-FFF2-40B4-BE49-F238E27FC236}">
                <a16:creationId xmlns:a16="http://schemas.microsoft.com/office/drawing/2014/main" id="{CB10FE4D-CF9D-34BF-A1E7-C91043E0F48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12" y="605546"/>
            <a:ext cx="4273222" cy="240368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0018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" val=""/>
  <p:tag name="BTFPCOLUMNGUIDE" val="Visible"/>
  <p:tag name="THINKCELLPRESENTATIONDONOTDELETE" val="&lt;?xml version=&quot;1.0&quot; encoding=&quot;UTF-16&quot; standalone=&quot;yes&quot;?&gt;&lt;root reqver=&quot;30783&quot;&gt;&lt;version val=&quot;3640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  <p:tag name="MEKKOFORMATS" val="&lt;MekkoFormats&gt;&lt;NumberFormat DecimalSeparator=&quot;.&quot; ThousandSeparator=&quot;,&quot; NegativeNumberFormat=&quot;1&quot; /&gt;&lt;DateFormat CultureID=&quot;1046&quot; FormatString=&quot;dd/MM/yyyy&quot; /&gt;&lt;Font&gt;&lt;Output_Font_Name Default=&quot;Arial&quot; UsePPTTheme=&quot;True&quot; /&gt;&lt;FarEast_Output_Font_Name Default=&quot;Arial&quot; UsePPTTheme=&quot;True&quot; RotateAndFlipEnabled=&quot;False&quot; /&gt;&lt;/Font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0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6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8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9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9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06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18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6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75"/>
  <p:tag name="BTFPLAYOUTENABLED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83"/>
  <p:tag name="BTFPLAYOUTENABLED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76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77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78"/>
  <p:tag name="BTFPLAYOUTENABLED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82"/>
  <p:tag name="BTFPLAYOUTENAB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7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07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8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72"/>
  <p:tag name="BTFPLAYOUTENABLED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81"/>
  <p:tag name="BTFPLAYOUTENABLED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7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7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3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3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3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446"/>
  <p:tag name="BTFPCENTERX" val="51,33929"/>
  <p:tag name="BTFPCENTERY" val="56,66667"/>
  <p:tag name="BTFPLAYOUTANCHORELEFT" val="True"/>
  <p:tag name="BTFPLAYOUTANCHORETOP" val="True"/>
  <p:tag name="BTFPUNCROPPEDHEIGHT" val="243,0223"/>
  <p:tag name="BTFPUNCROPPEDWIDTH" val="364,5324"/>
  <p:tag name="BTFPWIDTH" val="960"/>
  <p:tag name="BTFPHEIGHT" val="540,474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08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37"/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68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7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39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217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87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6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09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3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3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3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890"/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89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89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903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90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1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89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8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90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90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225"/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226"/>
  <p:tag name="SHAPENAME" val="2. Slide 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22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PEXTRADATA" val="PD94bWwgdmVyc2lvbj0iMS4wIiBlbmNvZGluZz0idXRmLTE2Ij8+DQo8TWFzdGVyRGF0YSB4bWxuczp4c2Q9Imh0dHA6Ly93d3cudzMub3JnLzIwMDEvWE1MU2NoZW1hIiB4bWxuczp4c2k9Imh0dHA6Ly93d3cudzMub3JnLzIwMDEvWE1MU2NoZW1hLWluc3RhbmNlIj4NCiAgPENhc2VDb2RlPk0zVUI8L0Nhc2VDb2RlPg0KICA8U3R5bGU+U3R5bGl6ZWQ8L1N0eWxlPg0KICA8VmVyc2lvbk51bWJlcj4xPC9WZXJzaW9uTnVtYmVyPg0KICA8RGVzaWduZXJPZmZpY2U+VE9LPC9EZXNpZ25lck9mZmljZT4NCiAgPFNraXBNZWtrb1N1cHBvcnQ+ZmFsc2U8L1NraXBNZWtrb1N1cHBvcnQ+DQogIDxTa2lwRm9udENoZWNrPmZhbHNlPC9Ta2lwRm9udENoZWNrPg0KICA8U2tpcE1hc3RlckZvbnRSZWZzPmZhbHNlPC9Ta2lwTWFzdGVyRm9udFJlZnM+DQogIDxNZWtrb0RhdGE+UEZSb1pXMWxQZzBLSUNBOFJtOXVkSE0rRFFvZ0lDQWdQRVp2Ym5ST1lXMWxQa0Z5YVdGc1BDOUdiMjUwVG1GdFpUNE5DaUFnSUNBOFJtRnlSV0Z6ZEVadmJuUk9ZVzFsUGsxVElGQkhiM1JvYVdNOEwwWmhja1ZoYzNSR2IyNTBUbUZ0WlQ0TkNpQWdQQzlHYjI1MGN6NE5DaUFnUEZCaGJHVjBkR1UrRFFvZ0lDQWdQRU52Ykc5eUlFZHliM1Z3U1VROUlqTWlJRVJwYzNCc1lYbFBjbVJsY2owaU1TSWdUbUZ0WlQwaVYyaHBkR1VpSUZKSFFqMGlSa1pHUmtaR1JrWWlJRWx1ZEdWdWMybDBlVDBpVEdsbmFIUWlJRk4xWWxCaGRIUmxjbTVDVnowaVZtVnlkR2xqWVd3aUlGTjFZa0poWTJ0bmNtOTFibVJEYjJ4dmNrSlhQU0pYYUdsMFpTSWdVM1ZpUm05eVpXZHliM1Z1WkVOdmJHOXlRbGM5SWtKc1lXTnJJaUJUZFdKTWFXNWxRMjlzYjNKQ1Z6MGlRbXhoWTJzaUlGTjFZa3hwYm1WVGRIbHNaVUpYUFNKRVlYTm9MVVJ2ZEMxRWIzUWlJRk4xWWt4cGJtVlhhV1IwYUVKWFBTSXpJaUF2UGcwS0lDQWdJRHhEYjJ4dmNpQkhjbTkxY0VsRVBTSXpJaUJFYVhOd2JHRjVUM0prWlhJOUlqSWlJRTVoYldVOUlrSnNZV05ySWlCU1IwSTlJa1pHTURBd01EQXdJaUJKYm5SbGJuTnBkSGs5SWtSaGNtc2lJRk4xWWxCaGRIUmxjbTVDVnowaVNHOXlhWHB2Ym5SaGJDSWdVM1ZpUW1GamEyZHliM1Z1WkVOdmJHOXlRbGM5SWxkb2FYUmxJaUJUZFdKR2IzSmxaM0p2ZFc1a1EyOXNiM0pDVnowaVFteGhZMnNpSUZOMVlreHBibVZEYjJ4dmNrSlhQU0pDYkdGamF5SWdVM1ZpVEdsdVpWTjBlV3hsUWxjOUlrUmhjMmd0Ukc5MExVUnZkQ0lnVTNWaVRHbHVaVmRwWkhSb1FsYzlJakVpSUM4K0RRb2dJQ0FnUEVOdmJHOXlJRWR5YjNWd1NVUTlJakVpSUVScGMzQnNZWGxQY21SbGNqMGlNeUlnVG1GdFpUMGlSM0poZVNBeElpQlNSMEk5SWtaR016TXpNek16SWlCSmJuUmxibk5wZEhrOUlrUmhjbXNpSUZOMVlreHBibVZYYVdSMGFFSlhQU0kwT1NJZ0x6NE5DaUFnSUNBOFEyOXNiM0lnUjNKdmRYQkpSRDBpTVNJZ1JHbHpjR3hoZVU5eVpHVnlQU0kwSWlCT1lXMWxQU0pIY21GNUlESWlJRkpIUWowaVJrWTFRelZETlVNaUlFbHVkR1Z1YzJsMGVUMGlSR0Z5YXlJZ1UzVmlUR2x1WlZkcFpIUm9RbGM5SWpRNUlpQXZQZzBLSUNBZ0lEeERiMnh2Y2lCSGNtOTFjRWxFUFNJeElpQkVhWE53YkdGNVQzSmtaWEk5SWpVaUlFNWhiV1U5SWtkeVlYa2dNeUlnVWtkQ1BTSkdSamcxT0RVNE5TSWdTVzUwWlc1emFYUjVQU0pNYVdkb2RDSWdVM1ZpVEdsdVpWZHBaSFJvUWxjOUlqUTVJaUF2UGcwS0lDQWdJRHhEYjJ4dmNpQkhjbTkxY0VsRVBTSXhJaUJFYVhOd2JHRjVUM0prWlhJOUlqWWlJRTVoYldVOUlrZHlZWGtnTkNJZ1VrZENQU0pHUmtJMFFqUkNOQ0lnU1c1MFpXNXphWFI1UFNKTWFXZG9kQ0lnVTNWaVRHbHVaVmRwWkhSb1FsYzlJalE1SWlBdlBnMEtJQ0FnSUR4RGIyeHZjaUJIY205MWNFbEVQU0l4SWlCRWFYTndiR0Y1VDNKa1pYSTlJamNpSUU1aGJXVTlJa2R5WVhrZ05TSWdVa2RDUFNKR1JrUTJSRFpFTmlJZ1NXNTBaVzV6YVhSNVBTSk1hV2RvZENJZ1UzVmlUR2x1WlZkcFpIUm9RbGM5SWpRNUlpQXZQZzBLSUNBZ0lEeERiMnh2Y2lCSGNtOTFjRWxFUFNJeElpQkVhWE53YkdGNVQzSmtaWEk5SWpnaUlFNWhiV1U5SWtJMElpQlNSMEk5SWtaR01EQXlNa1F5SWlCSmJuUmxibk5wZEhrOUlrUmhjbXNpSUZOMVlreHBibVZYYVdSMGFFSlhQU0kwT1NJZ0x6NE5DaUFnSUNBOFEyOXNiM0lnUjNKdmRYQkpSRDBpTVNJZ1JHbHpjR3hoZVU5eVpHVnlQU0k1SWlCT1lXMWxQU0pDSWlCU1IwSTlJa1pHTVRnelJVWkdJaUJKYm5SbGJuTnBkSGs5SWtSaGNtc2lJRk4xWWt4cGJtVlhhV1IwYUVKWFBTSTBPU0lnTHo0TkNpQWdJQ0E4UTI5c2IzSWdSM0p2ZFhCSlJEMGlNU0lnUkdsemNHeGhlVTl5WkdWeVBTSXhNQ0lnVG1GdFpUMGlRak1pSUZKSFFqMGlSa1kzTlRoRFJrWWlJRWx1ZEdWdWMybDBlVDBpVEdsbmFIUWlJRk4xWWt4cGJtVlhhV1IwYUVKWFBTSTBPU0lnTHo0TkNpQWdJQ0E4UTI5c2IzSWdSM0p2ZFhCSlJEMGlNU0lnUkdsemNHeGhlVTl5WkdWeVBTSXhNU0lnVG1GdFpUMGlRaklpSUZKSFFqMGlSa1pCTTBJeVJrWWlJRWx1ZEdWdWMybDBlVDBpVEdsbmFIUWlJRk4xWWt4cGJtVlhhV1IwYUVKWFBTSTBPU0lnTHo0TkNpQWdJQ0E4UTI5c2IzSWdSM0p2ZFhCSlJEMGlNU0lnUkdsemNHeGhlVTl5WkdWeVBTSXhNaUlnVG1GdFpUMGlRakVpSUZKSFFqMGlSa1pFTVVRNVJrWWlJRWx1ZEdWdWMybDBlVDBpVEdsbmFIUWlJRk4xWWt4cGJtVlhhV1IwYUVKWFBTSTBPU0lnTHo0TkNpQWdJQ0E4UTI5c2IzSWdSM0p2ZFhCSlJEMGlNU0lnUkdsemNHeGhlVTl5WkdWeVBTSXhNeUlnVG1GdFpUMGlRelFpSUZKSFFqMGlSa1pETURsQk1EQWlJRWx1ZEdWdWMybDBlVDBpVEdsbmFIUWlJRk4xWWt4cGJtVlhhV1IwYUVKWFBTSTBPU0lnTHo0TkNpQWdJQ0E4UTI5c2IzSWdSM0p2ZFhCSlJEMGlNU0lnUkdsemNHeGhlVTl5WkdWeVBTSXhOQ0lnVG1GdFpUMGlReUlnVWtkQ1BTSkdSa1pHUTBVd01DSWdTVzUwWlc1emFYUjVQU0pNYVdkb2RDSWdVM1ZpVEdsdVpWZHBaSFJvUWxjOUlqUTVJaUF2UGcwS0lDQWdJRHhEYjJ4dmNpQkhjbTkxY0VsRVBTSXhJaUJFYVhOd2JHRjVUM0prWlhJOUlqRTFJaUJPWVcxbFBTSkRNeUlnVWtkQ1BTSkdSa1pHUlRFMk55SWdTVzUwWlc1emFYUjVQU0pNYVdkb2RDSWdVM1ZpVEdsdVpWZHBaSFJvUWxjOUlqUTVJaUF2UGcwS0lDQWdJRHhEYjJ4dmNpQkhjbTkxY0VsRVBTSXhJaUJFYVhOd2JHRjVUM0prWlhJOUlqRTJJaUJPWVcxbFBTSkRNaUlnVWtkQ1BTSkdSa1pHUlVJNU9TSWdTVzUwWlc1emFYUjVQU0pNYVdkb2RDSWdVM1ZpVEdsdVpWZHBaSFJvUWxjOUlqUTVJaUF2UGcwS0lDQWdJRHhEYjJ4dmNpQkhjbTkxY0VsRVBTSXhJaUJFYVhOd2JHRjVUM0prWlhJOUlqRTNJaUJPWVcxbFBTSkRNU0lnVWtkQ1BTSkdSa1pHUmpWRFFpSWdTVzUwWlc1emFYUjVQU0pNYVdkb2RDSWdVM1ZpVEdsdVpWZHBaSFJvUWxjOUlqUTVJaUF2UGcwS0lDQWdJRHhEYjJ4dmNpQkhjbTkxY0VsRVBTSXhJaUJFYVhOd2JHRjVUM0prWlhJOUlqRTRJaUJPWVcxbFBTSkVOQ0lnVWtkQ1BTSkdSakF3T1VFd01DSWdTVzUwWlc1emFYUjVQU0pNYVdkb2RDSWdVM1ZpVEdsdVpWZHBaSFJvUWxjOUlqUTVJaUF2UGcwS0lDQWdJRHhEYjJ4dmNpQkhjbTkxY0VsRVBTSXhJaUJFYVhOd2JHRjVUM0prWlhJOUlqRTVJaUJPWVcxbFBTSkVJaUJTUjBJOUlrWkdNREJEUlRBd0lpQkpiblJsYm5OcGRIazlJa3hwWjJoMElpQlRkV0pNYVc1bFYybGtkR2hDVnowaU5Ea2lJQzgrRFFvZ0lDQWdQRU52Ykc5eUlFZHliM1Z3U1VROUlqRWlJRVJwYzNCc1lYbFBjbVJsY2owaU1qQWlJRTVoYldVOUlrUXpJaUJTUjBJOUlrWkdORGxHUmpRNUlpQkpiblJsYm5OcGRIazlJa3hwWjJoMElpQlRkV0pNYVc1bFYybGtkR2hDVnowaU5Ea2lJQzgrRFFvZ0lDQWdQRU52Ykc5eUlFZHliM1Z3U1VROUlqRWlJRVJwYzNCc1lYbFBjbVJsY2owaU1qRWlJRTVoYldVOUlrUXlJaUJTUjBJOUlrWkdPRFZHUmpnMUlpQkpiblJsYm5OcGRIazlJa3hwWjJoMElpQlRkV0pNYVc1bFYybGtkR2hDVnowaU5Ea2lJQzgrRFFvZ0lDQWdQRU52Ykc5eUlFZHliM1Z3U1VROUlqRWlJRVJwYzNCc1lYbFBjbVJsY2owaU1qSWlJRTVoYldVOUlrUXhJaUJTUjBJOUlrWkdRekZHUmtNeElpQkpiblJsYm5OcGRIazlJa3hwWjJoMElpQlRkV0pNYVc1bFYybGtkR2hDVnowaU5Ea2lJQzgrRFFvZ0lDQWdQRU52Ykc5eUlFZHliM1Z3U1VROUlqRWlJRVJwYzNCc1lYbFBjbVJsY2owaU1qTWlJRTVoYldVOUlrWWlJRkpIUWowaVJrWXdNVEl4TmpraUlFbHVkR1Z1YzJsMGVUMGlSR0Z5YXlJZ1UzVmlUR2x1WlZkcFpIUm9RbGM5SWpRNUlpQXZQZzBLSUNBZ0lEeERiMnh2Y2lCSGNtOTFjRWxFUFNJeElpQkVhWE53YkdGNVQzSmtaWEk5SWpJMElpQk9ZVzFsUFNKRklpQlNSMEk5SWtaR05ERTFPVGhHSWlCSmJuUmxibk5wZEhrOUlrUmhjbXNpSUZOMVlreHBibVZYYVdSMGFFSlhQU0kwT1NJZ0x6NE5DaUFnSUNBOFEyOXNiM0lnUjNKdmRYQkpSRDBpTVNJZ1JHbHpjR3hoZVU5eVpHVnlQU0l5TlNJZ1RtRnRaVDBpUlRNaUlGSkhRajBpUmtZNE1qazNRemNpSUVsdWRHVnVjMmwwZVQwaVRHbG5hSFFpSUZOMVlreHBibVZYYVdSMGFFSlhQU0kwT1NJZ0x6NE5DaUFnSUNBOFEyOXNiM0lnUjNKdmRYQkpSRDBpTVNJZ1JHbHpjR3hoZVU5eVpHVnlQU0l5TmlJZ1RtRnRaVDBpUlRJaUlGSkhRajBpUmtaQlFrSTVSRGtpSUVsdWRHVnVjMmwwZVQwaVRHbG5hSFFpSUZOMVlreHBibVZYYVdSMGFFSlhQU0kwT1NJZ0x6NE5DaUFnSUNBOFEyOXNiM0lnUjNKdmRYQkpSRDBpTVNJZ1JHbHpjR3hoZVU5eVpHVnlQU0l5TnlJZ1RtRnRaVDBpUlRFaUlGSkhRajBpUmtaRU5VUkRSVU1pSUVsdWRHVnVjMmwwZVQwaVRHbG5hSFFpSUZOMVlreHBibVZYYVdSMGFFSlhQU0kwT1NJZ0x6NE5DaUFnSUNBOFEyOXNiM0lnUjNKdmRYQkpSRDBpTVNJZ1JHbHpjR3hoZVU5eVpHVnlQU0l5T0NJZ1RtRnRaVDBpUVNJZ1VrZENQU0pHUmtZek1EWXdNQ0lnU1c1MFpXNXphWFI1UFNKRVlYSnJJaUJKYzBocFoyaHNhV2RvZEVOdmJHOXlQU0owY25WbElpQlRkV0pRWVhSMFpYSnVRbGM5SWxOdmJHbGtJaUJUZFdKQ1lXTnJaM0p2ZFc1a1EyOXNiM0pDVnowaVFteGhZMnNpSUZOMVlrWnZjbVZuY205MWJtUkRiMnh2Y2tKWFBTSkNiR0ZqYXlJZ1UzVmlUR2x1WlVOdmJHOXlRbGM5SWtKc1lXTnJJaUJUZFdKTWFXNWxVM1I1YkdWQ1Z6MGlVMjlzYVdRaUlGTjFZa3hwYm1WWGFXUjBhRUpYUFNJeE1EWWlJQzgrRFFvZ0lEd3ZVR0ZzWlhSMFpUNE5DaUFnUEVSeVlYZFBjbVJsY25NK0RRb2dJQ0FnUEVKaGNuTkJibVJDZFdKaWJHVnpQZzBLSUNBZ0lDQWdQRU52Ykc5eVVtVm1JR2xrUFNKT2IxTm9ZV1JwYm1jaVBrZHlZWGtnTkR3dlEyOXNiM0pTWldZK0RRb2dJQ0FnSUNBOFEyOXNiM0pTWldZZ2FXUTlJa0oxWW1Kc1pYTk9iMU5vWVdScGJtY2lQa2R5WVhrZ05Ed3ZRMjlzYjNKU1pXWStEUW9nSUNBZ0lDQThRMjlzYjNJK0RRb2dJQ0FnSUNBZ0lEeERiMnh2Y2xKbFppQnBaRDBpUTI5c2IzSWdNREVpUGtkeVlYa2dNVHd2UTI5c2IzSlNaV1krRFFvZ0lDQWdJQ0FnSUR4RGIyeHZjbEpsWmlCcFpEMGlRMjlzYjNJZ01ESWlQa2R5WVhrZ01qd3ZRMjlzYjNKU1pXWStEUW9nSUNBZ0lDQWdJRHhEYjJ4dmNsSmxaaUJwWkQwaVEyOXNiM0lnTURNaVBrZHlZWGtnTXp3dlEyOXNiM0pTWldZK0RRb2dJQ0FnSUNBZ0lEeERiMnh2Y2xKbFppQnBaRDBpUTI5c2IzSWdNRFFpUGtkeVlYa2dORHd2UTI5c2IzSlNaV1krRFFvZ0lDQWdJQ0FnSUR4RGIyeHZjbEpsWmlCcFpEMGlRMjlzYjNJZ01EVWlQa2R5WVhrZ05Ud3ZRMjlzYjNKU1pXWStEUW9nSUNBZ0lDQWdJRHhEYjJ4dmNsSmxaaUJwWkQwaVEyOXNiM0lnTURZaVBrSTBQQzlEYjJ4dmNsSmxaajROQ2lBZ0lDQWdJQ0FnUEVOdmJHOXlVbVZtSUdsa1BTSkRiMnh2Y2lBd055SStRand2UTI5c2IzSlNaV1krRFFvZ0lDQWdJQ0FnSUR4RGIyeHZjbEpsWmlCcFpEMGlRMjlzYjNJZ01EZ2lQa0l6UEM5RGIyeHZjbEpsWmo0TkNpQWdJQ0FnSUNBZ1BFTnZiRzl5VW1WbUlHbGtQU0pEYjJ4dmNpQXdPU0krUWpJOEwwTnZiRzl5VW1WbVBnMEtJQ0FnSUNBZ0lDQThRMjlzYjNKU1pXWWdhV1E5SWtOdmJHOXlJREV3SWo1Q01Ud3ZRMjlzYjNKU1pXWStEUW9nSUNBZ0lDQWdJRHhEYjJ4dmNsSmxaaUJwWkQwaVEyOXNiM0lnTVRFaVBrTTBQQzlEYjJ4dmNsSmxaajROQ2lBZ0lDQWdJQ0FnUEVOdmJHOXlVbVZtSUdsa1BTSkRiMnh2Y2lBeE1pSStRend2UTI5c2IzSlNaV1krRFFvZ0lDQWdJQ0FnSUR4RGIyeHZjbEpsWmlCcFpEMGlRMjlzYjNJZ01UTWlQa016UEM5RGIyeHZjbEpsWmo0TkNpQWdJQ0FnSUNBZ1BFTnZiRzl5VW1WbUlHbGtQU0pEYjJ4dmNpQXhOQ0krUXpJOEwwTnZiRzl5VW1WbVBnMEtJQ0FnSUNBZ0lDQThRMjlzYjNKU1pXWWdhV1E5SWtOdmJHOXlJREUxSWo1RE1Ud3ZRMjlzYjNKU1pXWStEUW9nSUNBZ0lDQWdJRHhEYjJ4dmNsSmxaaUJwWkQwaVEyOXNiM0lnTVRZaVBrUTBQQzlEYjJ4dmNsSmxaajROQ2lBZ0lDQWdJQ0FnUEVOdmJHOXlVbVZtSUdsa1BTSkRiMnh2Y2lBeE55SStSRHd2UTI5c2IzSlNaV1krRFFvZ0lDQWdJQ0FnSUR4RGIyeHZjbEpsWmlCcFpEMGlRMjlzYjNJZ01UZ2lQa1F6UEM5RGIyeHZjbEpsWmo0TkNpQWdJQ0FnSUNBZ1BFTnZiRzl5VW1WbUlHbGtQU0pEYjJ4dmNpQXhPU0krUkRJOEwwTnZiRzl5VW1WbVBnMEtJQ0FnSUNBZ0lDQThRMjlzYjNKU1pXWWdhV1E5SWtOdmJHOXlJREl3SWo1RU1Ud3ZRMjlzYjNKU1pXWStEUW9nSUNBZ0lDQWdJRHhEYjJ4dmNsSmxaaUJwWkQwaVEyOXNiM0lnTWpFaVBrWThMME52Ykc5eVVtVm1QZzBLSUNBZ0lDQWdJQ0E4UTI5c2IzSlNaV1lnYVdROUlrTnZiRzl5SURJeUlqNUZQQzlEYjJ4dmNsSmxaajROQ2lBZ0lDQWdJQ0FnUEVOdmJHOXlVbVZtSUdsa1BTSkRiMnh2Y2lBeU15SStSVE04TDBOdmJHOXlVbVZtUGcwS0lDQWdJQ0FnSUNBOFEyOXNiM0pTWldZZ2FXUTlJa052Ykc5eUlESTBJajVGTWp3dlEyOXNiM0pTWldZK0RRb2dJQ0FnSUNBZ0lEeERiMnh2Y2xKbFppQnBaRDBpUTI5c2IzSWdNalVpUGtVeFBDOURiMnh2Y2xKbFpqNE5DaUFnSUNBZ0lDQWdQRU52Ykc5eVVtVm1JR2xrUFNKRGIyeHZjaUF5TmlJK1FUd3ZRMjlzYjNKU1pXWStEUW9nSUNBZ0lDQWdJRHhEYjJ4dmNsSmxaaUJwWkQwaVEyOXNiM0lnTWpjaVBrZHlZWGtnTlR3dlEyOXNiM0pTWldZK0RRb2dJQ0FnSUNBOEwwTnZiRzl5UGcwS0lDQWdJRHd2UW1GeWMwRnVaRUoxWW1Kc1pYTStEUW9nSUNBZ1BFUmhkR0ZUWlhSTllYSnJaWEp6UGcwS0lDQWdJQ0FnUEVOdmJHOXlVbVZtSUdsa1BTSk9iMU5vWVdScGJtY2lQa2R5WVhrZ05Ed3ZRMjlzYjNKU1pXWStEUW9nSUNBZ0lDQThRMjlzYjNJK0RRb2dJQ0FnSUNBZ0lEeERiMnh2Y2xKbFppQnBaRDBpUTI5c2IzSWdNREVpUGtkeVlYa2dNVHd2UTI5c2IzSlNaV1krRFFvZ0lDQWdJQ0FnSUR4RGIyeHZjbEpsWmlCcFpEMGlRMjlzYjNJZ01ESWlQa2R5WVhrZ01qd3ZRMjlzYjNKU1pXWStEUW9nSUNBZ0lDQWdJRHhEYjJ4dmNsSmxaaUJwWkQwaVEyOXNiM0lnTURNaVBrZHlZWGtnTXp3dlEyOXNiM0pTWldZK0RRb2dJQ0FnSUNBZ0lEeERiMnh2Y2xKbFppQnBaRDBpUTI5c2IzSWdNRFFpUGtkeVlYa2dORHd2UTI5c2IzSlNaV1krRFFvZ0lDQWdJQ0FnSUR4RGIyeHZjbEpsWmlCcFpEMGlRMjlzYjNJZ01EVWlQa2R5WVhrZ05Ud3ZRMjlzYjNKU1pXWStEUW9nSUNBZ0lDQWdJRHhEYjJ4dmNsSmxaaUJwWkQwaVEyOXNiM0lnTURZaVBrSTBQQzlEYjJ4dmNsSmxaajROQ2lBZ0lDQWdJQ0FnUEVOdmJHOXlVbVZtSUdsa1BTSkRiMnh2Y2lBd055SStRand2UTI5c2IzSlNaV1krRFFvZ0lDQWdJQ0FnSUR4RGIyeHZjbEpsWmlCcFpEMGlRMjlzYjNJZ01EZ2lQa0l6UEM5RGIyeHZjbEpsWmo0TkNpQWdJQ0FnSUNBZ1BFTnZiRzl5VW1WbUlHbGtQU0pEYjJ4dmNpQXdPU0krUWpJOEwwTnZiRzl5VW1WbVBnMEtJQ0FnSUNBZ0lDQThRMjlzYjNKU1pXWWdhV1E5SWtOdmJHOXlJREV3SWo1Q01Ud3ZRMjlzYjNKU1pXWStEUW9nSUNBZ0lDQWdJRHhEYjJ4dmNsSmxaaUJwWkQwaVEyOXNiM0lnTVRFaVBrTTBQQzlEYjJ4dmNsSmxaajROQ2lBZ0lDQWdJQ0FnUEVOdmJHOXlVbVZtSUdsa1BTSkRiMnh2Y2lBeE1pSStRend2UTI5c2IzSlNaV1krRFFvZ0lDQWdJQ0FnSUR4RGIyeHZjbEpsWmlCcFpEMGlRMjlzYjNJZ01UTWlQa016UEM5RGIyeHZjbEpsWmo0TkNpQWdJQ0FnSUNBZ1BFTnZiRzl5VW1WbUlHbGtQU0pEYjJ4dmNpQXhOQ0krUXpJOEwwTnZiRzl5VW1WbVBnMEtJQ0FnSUNBZ0lDQThRMjlzYjNKU1pXWWdhV1E5SWtOdmJHOXlJREUxSWo1RE1Ud3ZRMjlzYjNKU1pXWStEUW9nSUNBZ0lDQWdJRHhEYjJ4dmNsSmxaaUJwWkQwaVEyOXNiM0lnTVRZaVBrUTBQQzlEYjJ4dmNsSmxaajROQ2lBZ0lDQWdJQ0FnUEVOdmJHOXlVbVZtSUdsa1BTSkRiMnh2Y2lBeE55SStSRHd2UTI5c2IzSlNaV1krRFFvZ0lDQWdJQ0FnSUR4RGIyeHZjbEpsWmlCcFpEMGlRMjlzYjNJZ01UZ2lQa1F6UEM5RGIyeHZjbEpsWmo0TkNpQWdJQ0FnSUNBZ1BFTnZiRzl5VW1WbUlHbGtQU0pEYjJ4dmNpQXhPU0krUkRJOEwwTnZiRzl5VW1WbVBnMEtJQ0FnSUNBZ0lDQThRMjlzYjNKU1pXWWdhV1E5SWtOdmJHOXlJREl3SWo1RU1Ud3ZRMjlzYjNKU1pXWStEUW9nSUNBZ0lDQWdJRHhEYjJ4dmNsSmxaaUJwWkQwaVEyOXNiM0lnTWpFaVBrWThMME52Ykc5eVVtVm1QZzBLSUNBZ0lDQWdJQ0E4UTI5c2IzSlNaV1lnYVdROUlrTnZiRzl5SURJeUlqNUZQQzlEYjJ4dmNsSmxaajROQ2lBZ0lDQWdJQ0FnUEVOdmJHOXlVbVZtSUdsa1BTSkRiMnh2Y2lBeU15SStSVE04TDBOdmJHOXlVbVZtUGcwS0lDQWdJQ0FnSUNBOFEyOXNiM0pTWldZZ2FXUTlJa052Ykc5eUlESTBJajVGTWp3dlEyOXNiM0pTWldZK0RRb2dJQ0FnSUNBZ0lEeERiMnh2Y2xKbFppQnBaRDBpUTI5c2IzSWdNalVpUGtVeFBDOURiMnh2Y2xKbFpqNE5DaUFnSUNBZ0lEd3ZRMjlzYjNJK0RRb2dJQ0FnUEM5RVlYUmhVMlYwVFdGeWEyVnljejROQ2lBZ0lDQThUR2x1WlhNK0RRb2dJQ0FnSUNBOFUzUjViR1ZQWm1ZK0RRb2dJQ0FnSUNBZ0lEeERiMnh2Y2xKbFppQnBaRDBpVG05VGFHRmthVzVuSWo1SGNtRjVJREU4TDBOdmJHOXlVbVZtUGcwS0lDQWdJQ0FnSUNBOFEyOXNiM0krRFFvZ0lDQWdJQ0FnSUNBZ1BFTnZiRzl5VW1WbUlHbGtQU0pEYjJ4dmNpQXdNU0krUjNKaGVTQXhQQzlEYjJ4dmNsSmxaajROQ2lBZ0lDQWdJQ0FnSUNBOFEyOXNiM0pTWldZZ2FXUTlJa052Ykc5eUlEQXlJajVIY21GNUlESThMME52Ykc5eVVtVm1QZzBLSUNBZ0lDQWdJQ0FnSUR4RGIyeHZjbEpsWmlCcFpEMGlRMjlzYjNJZ01ETWlQa2R5WVhrZ016d3ZRMjlzYjNKU1pXWStEUW9nSUNBZ0lDQWdJQ0FnUEVOdmJHOXlVbVZtSUdsa1BTSkRiMnh2Y2lBd05DSStSM0poZVNBMFBDOURiMnh2Y2xKbFpqNE5DaUFnSUNBZ0lDQWdJQ0E4UTI5c2IzSlNaV1lnYVdROUlrTnZiRzl5SURBMUlqNUhjbUY1SURVOEwwTnZiRzl5VW1WbVBnMEtJQ0FnSUNBZ0lDQWdJRHhEYjJ4dmNsSmxaaUJwWkQwaVEyOXNiM0lnTURZaVBrSTBQQzlEYjJ4dmNsSmxaajROQ2lBZ0lDQWdJQ0FnSUNBOFEyOXNiM0pTWldZZ2FXUTlJa052Ykc5eUlEQTNJajVDUEM5RGIyeHZjbEpsWmo0TkNpQWdJQ0FnSUNBZ0lDQThRMjlzYjNKU1pXWWdhV1E5SWtOdmJHOXlJREE0SWo1Q016d3ZRMjlzYjNKU1pXWStEUW9nSUNBZ0lDQWdJQ0FnUEVOdmJHOXlVbVZtSUdsa1BTSkRiMnh2Y2lBd09TSStRakk4TDBOdmJHOXlVbVZtUGcwS0lDQWdJQ0FnSUNBZ0lEeERiMnh2Y2xKbFppQnBaRDBpUTI5c2IzSWdNVEFpUGtJeFBDOURiMnh2Y2xKbFpqNE5DaUFnSUNBZ0lDQWdJQ0E4UTI5c2IzSlNaV1lnYVdROUlrTnZiRzl5SURFeElqNURORHd2UTI5c2IzSlNaV1krRFFvZ0lDQWdJQ0FnSUNBZ1BFTnZiRzl5VW1WbUlHbGtQU0pEYjJ4dmNpQXhNaUkrUXp3dlEyOXNiM0pTWldZK0RRb2dJQ0FnSUNBZ0lDQWdQRU52Ykc5eVVtVm1JR2xrUFNKRGIyeHZjaUF4TXlJK1F6TThMME52Ykc5eVVtVm1QZzBLSUNBZ0lDQWdJQ0FnSUR4RGIyeHZjbEpsWmlCcFpEMGlRMjlzYjNJZ01UUWlQa015UEM5RGIyeHZjbEpsWmo0TkNpQWdJQ0FnSUNBZ0lDQThRMjlzYjNKU1pXWWdhV1E5SWtOdmJHOXlJREUxSWo1RE1Ud3ZRMjlzYjNKU1pXWStEUW9nSUNBZ0lDQWdJQ0FnUEVOdmJHOXlVbVZtSUdsa1BTSkRiMnh2Y2lBeE5pSStSRFE4TDBOdmJHOXlVbVZtUGcwS0lDQWdJQ0FnSUNBZ0lEeERiMnh2Y2xKbFppQnBaRDBpUTI5c2IzSWdNVGNpUGtROEwwTnZiRzl5VW1WbVBnMEtJQ0FnSUNBZ0lDQWdJRHhEYjJ4dmNsSmxaaUJwWkQwaVEyOXNiM0lnTVRnaVBrUXpQQzlEYjJ4dmNsSmxaajROQ2lBZ0lDQWdJQ0FnSUNBOFEyOXNiM0pTWldZZ2FXUTlJa052Ykc5eUlERTVJajVFTWp3dlEyOXNiM0pTWldZK0RRb2dJQ0FnSUNBZ0lDQWdQRU52Ykc5eVVtVm1JR2xrUFNKRGIyeHZjaUF5TUNJK1JERThMME52Ykc5eVVtVm1QZzBLSUNBZ0lDQWdJQ0FnSUR4RGIyeHZjbEpsWmlCcFpEMGlRMjlzYjNJZ01qRWlQa1k4TDBOdmJHOXlVbVZtUGcwS0lDQWdJQ0FnSUNBZ0lEeERiMnh2Y2xKbFppQnBaRDBpUTI5c2IzSWdNaklpUGtVOEwwTnZiRzl5VW1WbVBnMEtJQ0FnSUNBZ0lDQWdJRHhEYjJ4dmNsSmxaaUJwWkQwaVEyOXNiM0lnTWpNaVBrVXpQQzlEYjJ4dmNsSmxaajROQ2lBZ0lDQWdJQ0FnSUNBOFEyOXNiM0pTWldZZ2FXUTlJa052Ykc5eUlESTBJajVGTWp3dlEyOXNiM0pTWldZK0RRb2dJQ0FnSUNBZ0lDQWdQRU52Ykc5eVVtVm1JR2xrUFNKRGIyeHZjaUF5TlNJK1JURThMME52Ykc5eVVtVm1QZzBLSUNBZ0lDQWdJQ0E4TDBOdmJHOXlQZzBLSUNBZ0lDQWdQQzlUZEhsc1pVOW1aajROQ2lBZ0lDQWdJRHhUZEhsc1pVOXVQZzBLSUNBZ0lDQWdJQ0E4UTI5c2IzSlNaV1lnYVdROUlrNXZVMmhoWkdsdVp5SStSM0poZVNBeFBDOURiMnh2Y2xKbFpqNE5DaUFnSUNBZ0lDQWdQRU52Ykc5eVBnMEtJQ0FnSUNBZ0lDQWdJRHhEYjJ4dmNsSmxaaUJwWkQwaVEyOXNiM0lnTURFaVBrZHlZWGtnTVR3dlEyOXNiM0pTWldZK0RRb2dJQ0FnSUNBZ0lDQWdQRU52Ykc5eVVtVm1JR2xrUFNKRGIyeHZjaUF3TWlJK1IzSmhlU0F5UEM5RGIyeHZjbEpsWmo0TkNpQWdJQ0FnSUNBZ0lDQThRMjlzYjNKU1pXWWdhV1E5SWtOdmJHOXlJREF6SWo1SGNtRjVJRE04TDBOdmJHOXlVbVZtUGcwS0lDQWdJQ0FnSUNBZ0lEeERiMnh2Y2xKbFppQnBaRDBpUTI5c2IzSWdNRFFpUGtkeVlYa2dORHd2UTI5c2IzSlNaV1krRFFvZ0lDQWdJQ0FnSUNBZ1BFTnZiRzl5VW1WbUlHbGtQU0pEYjJ4dmNpQXdOU0krUjNKaGVTQTFQQzlEYjJ4dmNsSmxaajROQ2lBZ0lDQWdJQ0FnSUNBOFEyOXNiM0pTWldZZ2FXUTlJa052Ykc5eUlEQTJJajVDTkR3dlEyOXNiM0pTWldZK0RRb2dJQ0FnSUNBZ0lDQWdQRU52Ykc5eVVtVm1JR2xrUFNKRGIyeHZjaUF3TnlJK1Fqd3ZRMjlzYjNKU1pXWStEUW9nSUNBZ0lDQWdJQ0FnUEVOdmJHOXlVbVZtSUdsa1BTSkRiMnh2Y2lBd09DSStRak04TDBOdmJHOXlVbVZtUGcwS0lDQWdJQ0FnSUNBZ0lEeERiMnh2Y2xKbFppQnBaRDBpUTI5c2IzSWdNRGtpUGtJeVBDOURiMnh2Y2xKbFpqNE5DaUFnSUNBZ0lDQWdJQ0E4UTI5c2IzSlNaV1lnYVdROUlrTnZiRzl5SURFd0lqNUNNVHd2UTI5c2IzSlNaV1krRFFvZ0lDQWdJQ0FnSUNBZ1BFTnZiRzl5VW1WbUlHbGtQU0pEYjJ4dmNpQXhNU0krUXpROEwwTnZiRzl5VW1WbVBnMEtJQ0FnSUNBZ0lDQWdJRHhEYjJ4dmNsSmxaaUJwWkQwaVEyOXNiM0lnTVRJaVBrTThMME52Ykc5eVVtVm1QZzBLSUNBZ0lDQWdJQ0FnSUR4RGIyeHZjbEpsWmlCcFpEMGlRMjlzYjNJZ01UTWlQa016UEM5RGIyeHZjbEpsWmo0TkNpQWdJQ0FnSUNBZ0lDQThRMjlzYjNKU1pXWWdhV1E5SWtOdmJHOXlJREUwSWo1RE1qd3ZRMjlzYjNKU1pXWStEUW9nSUNBZ0lDQWdJQ0FnUEVOdmJHOXlVbVZtSUdsa1BTSkRiMnh2Y2lBeE5TSStRekU4TDBOdmJHOXlVbVZtUGcwS0lDQWdJQ0FnSUNBZ0lEeERiMnh2Y2xKbFppQnBaRDBpUTI5c2IzSWdNVFlpUGtRMFBDOURiMnh2Y2xKbFpqNE5DaUFnSUNBZ0lDQWdJQ0E4UTI5c2IzSlNaV1lnYVdROUlrTnZiRzl5SURFM0lqNUVQQzlEYjJ4dmNsSmxaajROQ2lBZ0lDQWdJQ0FnSUNBOFEyOXNiM0pTWldZZ2FXUTlJa052Ykc5eUlERTRJajVFTXp3dlEyOXNiM0pTWldZK0RRb2dJQ0FnSUNBZ0lDQWdQRU52Ykc5eVVtVm1JR2xrUFNKRGIyeHZjaUF4T1NJK1JESThMME52Ykc5eVVtVm1QZzBLSUNBZ0lDQWdJQ0FnSUR4RGIyeHZjbEpsWmlCcFpEMGlRMjlzYjNJZ01qQWlQa1F4UEM5RGIyeHZjbEpsWmo0TkNpQWdJQ0FnSUNBZ0lDQThRMjlzYjNKU1pXWWdhV1E5SWtOdmJHOXlJREl4SWo1R1BDOURiMnh2Y2xKbFpqNE5DaUFnSUNBZ0lDQWdJQ0E4UTI5c2IzSlNaV1lnYVdROUlrTnZiRzl5SURJeUlqNUZQQzlEYjJ4dmNsSmxaajROQ2lBZ0lDQWdJQ0FnSUNBOFEyOXNiM0pTWldZZ2FXUTlJa052Ykc5eUlESXpJajVGTXp3dlEyOXNiM0pTWldZK0RRb2dJQ0FnSUNBZ0lDQWdQRU52Ykc5eVVtVm1JR2xrUFNKRGIyeHZjaUF5TkNJK1JUSThMME52Ykc5eVVtVm1QZzBLSUNBZ0lDQWdJQ0FnSUR4RGIyeHZjbEpsWmlCcFpEMGlRMjlzYjNJZ01qVWlQa1V4UEM5RGIyeHZjbEpsWmo0TkNpQWdJQ0FnSUNBZ1BDOURiMnh2Y2o0TkNpQWdJQ0FnSUR3dlUzUjViR1ZQYmo0TkNpQWdJQ0E4TDB4cGJtVnpQZzBLSUNBZ0lEeEhZVzUwZEQ0TkNpQWdJQ0FnSUR4RGIyeHZjbEpsWmlCcFpEMGlTR1ZoWkdWeVFtRmphMmR5YjNWdVpDSStSM0poZVNBMVBDOURiMnh2Y2xKbFpqNE5DaUFnSUNBZ0lEeERiMnh2Y2xKbFppQnBaRDBpUW05eVpHVnlRVzVrVEdsdVpYTWlQbGRvYVhSbFBDOURiMnh2Y2xKbFpqNE5DaUFnSUNBZ0lEeERiMnh2Y2xKbFppQnBaRDBpVkdGemExTm9ZV1JwYm1jaVBrZHlZWGtnTlR3dlEyOXNiM0pTWldZK0RRb2dJQ0FnSUNBOFEyOXNiM0pTWldZZ2FXUTlJbFJwYldWUVpYSnBiMlJJYVdkb2RHeHBaMmgwSWo1SGNtRjVJRFU4TDBOdmJHOXlVbVZtUGcwS0lDQWdJQ0FnUEVOdmJHOXlVbVZtSUdsa1BTSlVhVzFsVTJoaFpHbHVaeUkrUjNKaGVTQTFQQzlEYjJ4dmNsSmxaajROQ2lBZ0lDQWdJRHhEYjJ4dmNsSmxaaUJwWkQwaVZHbHRaVk5sY0dGeVlYUnZjbk1pUGtkeVlYa2dOVHd2UTI5c2IzSlNaV1krRFFvZ0lDQWdJQ0E4UTI5c2IzSlNaV1lnYVdROUlsUmhjMnRUWlhCaGNtRjBiM0p6SWo1SGNtRjVJRFU4TDBOdmJHOXlVbVZtUGcwS0lDQWdJQ0FnUEVOdmJHOXlVbVZtSUdsa1BTSlVZWE5yVEdsemRDSStWMmhwZEdVOEwwTnZiRzl5VW1WbVBnMEtJQ0FnSUNBZ1BFTnZiRzl5VW1WbUlHbGtQU0pVWVhOclIzSnBaR3hwYm1WeklqNUhjbUY1SURVOEwwTnZiRzl5VW1WbVBnMEtJQ0FnSUNBZ1BFTnZiRzl5VW1WbUlHbGtQU0pFWVhSbFUyaGhaR2x1WnlJK1FUd3ZRMjlzYjNKU1pXWStEUW9nSUNBZ0lDQThRMjlzYjNKU1pXWWdhV1E5SWtSaGRHVlRhR0ZrYVc1blFtOXlaR1Z5SWo1WGFHbDBaVHd2UTI5c2IzSlNaV1krRFFvZ0lDQWdJQ0E4UTI5c2IzSlNaV1lnYVdROUlreHBibVZDY21GamEyVjBJajVDYkdGamF6d3ZRMjlzYjNKU1pXWStEUW9nSUNBZ0lDQThRMjlzYjNKU1pXWWdhV1E5SWsxcGJHVnpkRzl1WlNJK1FteGhZMnM4TDBOdmJHOXlVbVZtUGcwS0lDQWdJQ0FnUEVOdmJHOXlVbVZtSUdsa1BTSkVZWFJsYkdsdVpTSStRVHd2UTI5c2IzSlNaV1krRFFvZ0lDQWdJQ0E4UTI5c2IzSlNaV1lnYVdROUlsQnliMk5sYzNOQ1lXTnJaM0p2ZFc1a0lqNUhjbUY1SURNOEwwTnZiRzl5VW1WbVBnMEtJQ0FnSUNBZ1BFTnZiRzl5VW1WbUlHbGtQU0pRY205alpYTnpRbTl5WkdWeUlqNVhhR2wwWlR3dlEyOXNiM0pTWldZK0RRb2dJQ0FnSUNBOFEyOXNiM0pTWldZZ2FXUTlJa0poY2tKaFkydG5jbTkxYm1RaVBrZHlZWGtnTXp3dlEyOXNiM0pTWldZK0RRb2dJQ0FnSUNBOFEyOXNiM0pTWldZZ2FXUTlJa0poY2tKdmNtUmxjaUkrVjJocGRHVThMME52Ykc5eVVtVm1QZzBLSUNBZ0lDQWdQRU52Ykc5eVVtVm1JR2xrUFNKUWNtOWpaWE56UW1GamEyZHliM1Z1WkVGc2RDSStWMmhwZEdVOEwwTnZiRzl5VW1WbVBnMEtJQ0FnSUNBZ1BFTnZiRzl5VW1WbUlHbGtQU0pRY205alpYTnpRbTl5WkdWeVFXeDBJajVIY21GNUlETThMME52Ykc5eVVtVm1QZzBLSUNBZ0lDQWdQRU52Ykc5eVVtVm1JR2xrUFNKQ1lYSkNZV05yWjNKdmRXNWtRV3gwSWo1WGFHbDBaVHd2UTI5c2IzSlNaV1krRFFvZ0lDQWdJQ0E4UTI5c2IzSlNaV1lnYVdROUlrSmhja0p2Y21SbGNrRnNkQ0krUjNKaGVTQXpQQzlEYjJ4dmNsSmxaajROQ2lBZ0lDQWdJRHhEYjJ4dmNsSmxaaUJwWkQwaVJHRjBaVk5vWVdScGJtZEJiSFFpUGtFOEwwTnZiRzl5VW1WbVBnMEtJQ0FnSUNBZ1BFTnZiRzl5VW1WbUlHbGtQU0pFWVhSbFUyaGhaR2x1WjBKdmNtUmxja0ZzZENJK1YyaHBkR1U4TDBOdmJHOXlVbVZtUGcwS0lDQWdJQ0FnUEVOdmJHOXlVbVZtSUdsa1BTSk1hVzVsUW5KaFkydGxkRUZzZENJK1FteGhZMnM4TDBOdmJHOXlVbVZtUGcwS0lDQWdJQ0FnUEVOdmJHOXlVbVZtSUdsa1BTSk5hV3hsYzNSdmJtVkJiSFFpUGtKc1lXTnJQQzlEYjJ4dmNsSmxaajROQ2lBZ0lDQWdJRHhEYjJ4dmNsSmxaaUJwWkQwaVJHRjBaV3hwYm1WQmJIUWlQa0U4TDBOdmJHOXlVbVZtUGcwS0lDQWdJRHd2UjJGdWRIUStEUW9nSUNBZ1BFTm9ZWEowVEdsdVpYTStEUW9nSUNBZ0lDQThRMjlzYjNKU1pXWWdhV1E5SWxaaGJIVmxRWGhsY3lJK1FteGhZMnM4TDBOdmJHOXlVbVZtUGcwS0lDQWdJQ0FnUEVOdmJHOXlVbVZtSUdsa1BTSkRZWFJsWjI5eWFXTmhiRUY0WlhNaVBrSnNZV05yUEM5RGIyeHZjbEpsWmo0TkNpQWdJQ0FnSUR4RGIyeHZjbEpsWmlCcFpEMGlVWFZoWkhKaGJuUk1hVzVsY3lJK1FteGhZMnM4TDBOdmJHOXlVbVZtUGcwS0lDQWdJQ0FnUEVOdmJHOXlVbVZtSUdsa1BTSk9iM0p0WVhScGRtVkNZVzVrVEdsdVpYTWlQa0pzWVdOclBDOURiMnh2Y2xKbFpqNE5DaUFnSUNBZ0lEeERiMnh2Y2xKbFppQnBaRDBpUjNKdmQzUm9VMmhoY21WTWFXNWxjeUkrUW14aFkyczhMME52Ykc5eVVtVm1QZzBLSUNBZ0lDQWdQRU52Ykc5eVVtVm1JR2xrUFNKSGNtOTNkR2hIY205M2RHaE1hVzVsY3lJK1FteGhZMnM4TDBOdmJHOXlVbVZtUGcwS0lDQWdJQ0FnUEVOdmJHOXlVbVZtSUdsa1BTSk1hVzVsUW1Wc2IzZEVZWFJoUTI5c2RXMXVJajVDYkdGamF6d3ZRMjlzYjNKU1pXWStEUW9nSUNBZ0lDQThRMjlzYjNKU1pXWWdhV1E5SWtkeWFXUk1hVzVsY3lJK1FteGhZMnM4TDBOdmJHOXlVbVZtUGcwS0lDQWdJQ0FnUEVOdmJHOXlVbVZtSUdsa1BTSk9aWFJNYVc1bFUyVnlhV1Z6SWo1Q2JHRmphend2UTI5c2IzSlNaV1krRFFvZ0lDQWdJQ0E4UTI5c2IzSlNaV1lnYVdROUlrRjJaWEpoWjJWTWFXNWxjeUkrUW14aFkyczhMME52Ykc5eVVtVm1QZzBLSUNBZ0lDQWdQRU52Ykc5eVVtVm1JR2xrUFNKV1pYSjBhV05oYkV4cGJtVnpJajVDYkdGamF6d3ZRMjlzYjNKU1pXWStEUW9nSUNBZ0lDQThRMjlzYjNKU1pXWWdhV1E5SWtkeWIzZDBhRXhwYm1WeklqNUNiR0ZqYXp3dlEyOXNiM0pTWldZK0RRb2dJQ0FnSUNBOFEyOXNiM0pTWldZZ2FXUTlJa0poY2tOdmJYQmhjbWx6YjI1TWFXNWxjeUkrUW14aFkyczhMME52Ykc5eVVtVm1QZzBLSUNBZ0lDQWdQRU52Ykc5eVVtVm1JR2xrUFNKVFpXZHRaVzUwUTI5dGNHRnlhWE52Ymt4cGJtVnpJajVDYkdGamF6d3ZRMjlzYjNKU1pXWStEUW9nSUNBZ0lDQThRMjlzYjNKU1pXWWdhV1E5SWxObFoyMWxiblJEYjIxd1lYSnBjMjl1VUhKdmFtVmpkR2x1WjB4cGJtVnpJajVDYkdGamF6d3ZRMjlzYjNKU1pXWStEUW9nSUNBZ0lDQThRMjlzYjNKU1pXWWdhV1E5SWtOb1lYSjBRbTl5WkdWeUlqNUNiR0ZqYXp3dlEyOXNiM0pTWldZK0RRb2dJQ0FnSUNBOFEyOXNiM0pTWldZZ2FXUTlJbE5sWjIxbGJuUkNiM0prWlhJaVBsZG9hWFJsUEM5RGIyeHZjbEpsWmo0TkNpQWdJQ0FnSUR4RGIyeHZjbEpsWmlCcFpEMGlUR1ZuWlc1a1FtOXlaR1Z5SWo1Q2JHRmphend2UTI5c2IzSlNaV1krRFFvZ0lDQWdJQ0E4UTI5c2IzSlNaV1lnYVdROUlsSmxabVZ5Wlc1alpVSjFZbUpzWlVKdmNtUmxjaUkrUW14aFkyczhMME52Ykc5eVVtVm1QZzBLSUNBZ0lDQWdQRU52Ykc5eVVtVm1JR2xrUFNKVFpXZHRaVzUwVEdsdWEzTWlQa0pzWVdOclBDOURiMnh2Y2xKbFpqNE5DaUFnSUNBZ0lEeERiMnh2Y2xKbFppQnBaRDBpUVc1dWIzUmhkR2x2Ymt4cGJtVnpJajVDYkdGamF6d3ZRMjlzYjNKU1pXWStEUW9nSUNBZ0lDQThRMjlzYjNKU1pXWWdhV1E5SWtGNGFYTkNjbVZoYTB4cGJtVnpJajVDYkdGamF6d3ZRMjlzYjNKU1pXWStEUW9nSUNBZ1BDOURhR0Z5ZEV4cGJtVnpQZzBLSUNBZ0lEeE9aWFJNYVc1bGN6NE5DaUFnSUNBZ0lEeERiMnh2Y2xKbFppQnBaRDBpUTI5c2IzSWlQa0pzWVdOclBDOURiMnh2Y2xKbFpqNE5DaUFnSUNBOEwwNWxkRXhwYm1WelBnMEtJQ0FnSUR4VFpXZHRaVzUwUW05eVpHVnljejROQ2lBZ0lDQWdJRHhEYjJ4dmNsSmxaaUJwWkQwaVEyOXNiM0lpUGxkb2FYUmxQQzlEYjJ4dmNsSmxaajROQ2lBZ0lDQThMMU5sWjIxbGJuUkNiM0prWlhKelBnMEtJQ0FnSUR4QmVHVnpUR2x1WlhNK0RRb2dJQ0FnSUNBOFEyOXNiM0pTWldZZ2FXUTlJa052Ykc5eUlqNUNiR0ZqYXp3dlEyOXNiM0pTWldZK0RRb2dJQ0FnUEM5QmVHVnpUR2x1WlhNK0RRb2dJQ0FnUEVGa2IzSnViV1Z1ZEV4cGJtVnpQZzBLSUNBZ0lDQWdQRU52Ykc5eVVtVm1JR2xrUFNKRGIyeHZjaUkrUW14aFkyczhMME52Ykc5eVVtVm1QZzBLSUNBZ0lEd3ZRV1J2Y201dFpXNTBUR2x1WlhNK0RRb2dJQ0FnUEVKMVltSnNaWE5UWTJGMGRHVnljMEpoWTJ0bmNtOTFibVErRFFvZ0lDQWdJQ0E4UTI5c2IzSlNaV1lnYVdROUlrTnZiRzl5SWo1SGNtRjVJRFU4TDBOdmJHOXlVbVZtUGcwS0lDQWdJRHd2UW5WaVlteGxjMU5qWVhSMFpYSnpRbUZqYTJkeWIzVnVaRDROQ2lBZ0lDQThRMmhoY25SQ2IzSmtaWEkrRFFvZ0lDQWdJQ0E4UTI5c2IzSlNaV1lnYVdROUlrTnZiRzl5SWo1Q2JHRmphend2UTI5c2IzSlNaV1krRFFvZ0lDQWdQQzlEYUdGeWRFSnZjbVJsY2o0TkNpQWdQQzlFY21GM1QzSmtaWEp6UGcwS0lDQThVMlYwZEdsdVozTStEUW9nSUNBZ1BGTm9iM2RQWm1acFkyVkRiMlJsUGtaaGJITmxQQzlUYUc5M1QyWm1hV05sUTI5a1pUNE5DaUFnSUNBOFUyaHZkMFpwYkdWT1lXMWxQa1poYkhObFBDOVRhRzkzUm1sc1pVNWhiV1UrRFFvZ0lEd3ZVMlYwZEdsdVozTStEUW84TDFSb1pXMWxQZz09PC9NZWtrb0RhdGE+DQogIDxJbmNsdWRlR3JheXM+dHJ1ZTwvSW5jbHVkZUdyYXlzPg0KICA8TGFzdFVwZGF0ZWQ+MjAyNC0xMS0wMVQxODoyODoyMi41MDEwMzk2WjwvTGFzdFVwZGF0ZWQ+DQogIDxTa2lwUHJvZHVjdGlvbk1vZGU+ZmFsc2U8L1NraXBQcm9kdWN0aW9uTW9kZT4NCiAgPEJhY2tncm91bmRDb2xvckhleD5GRkZGRkY8L0JhY2tncm91bmRDb2xvckhleD4NCiAgPFBhbGV0dGVEYXRhIC8+DQogIDxOYW1lc0V4dD4NCiAgICA8U2hvcnROYW1lPkE8L1Nob3J0TmFtZT4NCiAgICA8TG9uZ05hbWUgLz4NCiAgICA8QmFzZUNvbG9ySGV4PkYzMDYwMDwvQmFzZUNvbG9ySGV4Pg0KICAgIDxDb250cmFzdGluZ0NvbG9ySGV4PkZGRkZGRjwvQ29udHJhc3RpbmdDb2xvckhleD4NCiAgICA8SXNIaWdobGlnaHQ+dHJ1ZTwvSXNIaWdobGlnaHQ+DQogICAgPElzVGV4dD5mYWxzZTwvSXNUZXh0Pg0KICA8L05hbWVzRXh0Pg0KICA8TmFtZXNFeHQ+DQogICAgPFNob3J0TmFtZT5CPC9TaG9ydE5hbWU+DQogICAgPExvbmdOYW1lIC8+DQogICAgPEJhc2VDb2xvckhleD4xODNFRkY8L0Jhc2VDb2xvckhleD4NCiAgICA8Q29udHJhc3RpbmdDb2xvckhleD5GRkZGRkY8L0NvbnRyYXN0aW5nQ29sb3JIZXg+DQogICAgPElzSGlnaGxpZ2h0PmZhbHNlPC9Jc0hpZ2hsaWdodD4NCiAgICA8SXNUZXh0PmZhbHNlPC9Jc1RleHQ+DQogIDwvTmFtZXNFeHQ+DQogIDxOYW1lc0V4dD4NCiAgICA8U2hvcnROYW1lPkM8L1Nob3J0TmFtZT4NCiAgICA8TG9uZ05hbWUgLz4NCiAgICA8QmFzZUNvbG9ySGV4PkZGQ0UwMDwvQmFzZUNvbG9ySGV4Pg0KICAgIDxDb250cmFzdGluZ0NvbG9ySGV4PjAwMDAwMDwvQ29udHJhc3RpbmdDb2xvckhleD4NCiAgICA8SXNIaWdobGlnaHQ+ZmFsc2U8L0lzSGlnaGxpZ2h0Pg0KICAgIDxJc1RleHQ+ZmFsc2U8L0lzVGV4dD4NCiAgPC9OYW1lc0V4dD4NCiAgPE5hbWVzRXh0Pg0KICAgIDxTaG9ydE5hbWU+RDwvU2hvcnROYW1lPg0KICAgIDxMb25nTmFtZSAvPg0KICAgIDxCYXNlQ29sb3JIZXg+MDBDRTAwPC9CYXNlQ29sb3JIZXg+DQogICAgPENvbnRyYXN0aW5nQ29sb3JIZXg+MDAwMDAwPC9Db250cmFzdGluZ0NvbG9ySGV4Pg0KICAgIDxJc0hpZ2hsaWdodD5mYWxzZTwvSXNIaWdobGlnaHQ+DQogICAgPElzVGV4dD5mYWxzZTwvSXNUZXh0Pg0KICA8L05hbWVzRXh0Pg0KICA8TmFtZXNFeHQ+DQogICAgPFNob3J0TmFtZT5FPC9TaG9ydE5hbWU+DQogICAgPExvbmdOYW1lIC8+DQogICAgPEJhc2VDb2xvckhleD40MTU5OEY8L0Jhc2VDb2xvckhleD4NCiAgICA8Q29udHJhc3RpbmdDb2xvckhleD5GRkZGRkY8L0NvbnRyYXN0aW5nQ29sb3JIZXg+DQogICAgPElzSGlnaGxpZ2h0PmZhbHNlPC9Jc0hpZ2hsaWdodD4NCiAgICA8SXNUZXh0PmZhbHNlPC9Jc1RleHQ+DQogIDwvTmFtZXNFeHQ+DQogIDxOYW1lc0V4dD4NCiAgICA8U2hvcnROYW1lPkY8L1Nob3J0TmFtZT4NCiAgICA8TG9uZ05hbWUgLz4NCiAgICA8QmFzZUNvbG9ySGV4PjAxMjE2OTwvQmFzZUNvbG9ySGV4Pg0KICAgIDxDb250cmFzdGluZ0NvbG9ySGV4PkZGRkZGRjwvQ29udHJhc3RpbmdDb2xvckhleD4NCiAgICA8SXNIaWdobGlnaHQ+ZmFsc2U8L0lzSGlnaGxpZ2h0Pg0KICAgIDxJc1RleHQ+ZmFsc2U8L0lzVGV4dD4NCiAgPC9OYW1lc0V4dD4NCiAgPE5hbWVzRXh0Pg0KICAgIDxTaG9ydE5hbWU+RzwvU2hvcnROYW1lPg0KICAgIDxMb25nTmFtZSAvPg0KICAgIDxCYXNlQ29sb3JIZXg+MDA5NzM5PC9CYXNlQ29sb3JIZXg+DQogICAgPENvbnRyYXN0aW5nQ29sb3JIZXg+RkZGRkZGPC9Db250cmFzdGluZ0NvbG9ySGV4Pg0KICAgIDxJc0hpZ2hsaWdodD5mYWxzZTwvSXNIaWdobGlnaHQ+DQogICAgPElzVGV4dD5mYWxzZTwvSXNUZXh0Pg0KICA8L05hbWVzRXh0Pg0KICA8TmFtZXNFeHQ+DQogICAgPFNob3J0TmFtZT5IPC9TaG9ydE5hbWU+DQogICAgPExvbmdOYW1lIC8+DQogICAgPEJhc2VDb2xvckhleD43RkM5OUY8L0Jhc2VDb2xvckhleD4NCiAgICA8Q29udHJhc3RpbmdDb2xvckhleD4wMDAwMDA8L0NvbnRyYXN0aW5nQ29sb3JIZXg+DQogICAgPElzSGlnaGxpZ2h0PmZhbHNlPC9Jc0hpZ2hsaWdodD4NCiAgICA8SXNUZXh0PmZhbHNlPC9Jc1RleHQ+DQogIDwvTmFtZXNFeHQ+DQogIDxOb3RlcyAvPg0KPC9NYXN0ZXJEYXRhPg==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25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0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0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0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0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0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08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09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1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PEXTRADATA" val="PD94bWwgdmVyc2lvbj0iMS4wIiBlbmNvZGluZz0idXRmLTE2Ij8+DQo8TWFzdGVyRGF0YSB4bWxuczp4c2Q9Imh0dHA6Ly93d3cudzMub3JnLzIwMDEvWE1MU2NoZW1hIiB4bWxuczp4c2k9Imh0dHA6Ly93d3cudzMub3JnLzIwMDEvWE1MU2NoZW1hLWluc3RhbmNlIj4NCiAgPENhc2VDb2RlPk0zVUI8L0Nhc2VDb2RlPg0KICA8U3R5bGU+U3R5bGl6ZWQ8L1N0eWxlPg0KICA8VmVyc2lvbk51bWJlcj4xPC9WZXJzaW9uTnVtYmVyPg0KICA8RGVzaWduZXJPZmZpY2U+VE9LPC9EZXNpZ25lck9mZmljZT4NCiAgPFNraXBNZWtrb1N1cHBvcnQ+ZmFsc2U8L1NraXBNZWtrb1N1cHBvcnQ+DQogIDxTa2lwRm9udENoZWNrPmZhbHNlPC9Ta2lwRm9udENoZWNrPg0KICA8U2tpcE1hc3RlckZvbnRSZWZzPmZhbHNlPC9Ta2lwTWFzdGVyRm9udFJlZnM+DQogIDxNZWtrb0RhdGE+UEZSb1pXMWxQZzBLSUNBOFJtOXVkSE0rRFFvZ0lDQWdQRVp2Ym5ST1lXMWxQa0Z5YVdGc1BDOUdiMjUwVG1GdFpUNE5DaUFnSUNBOFJtRnlSV0Z6ZEVadmJuUk9ZVzFsUGsxVElGQkhiM1JvYVdNOEwwWmhja1ZoYzNSR2IyNTBUbUZ0WlQ0TkNpQWdQQzlHYjI1MGN6NE5DaUFnUEZCaGJHVjBkR1UrRFFvZ0lDQWdQRU52Ykc5eUlFZHliM1Z3U1VROUlqTWlJRVJwYzNCc1lYbFBjbVJsY2owaU1TSWdUbUZ0WlQwaVYyaHBkR1VpSUZKSFFqMGlSa1pHUmtaR1JrWWlJRWx1ZEdWdWMybDBlVDBpVEdsbmFIUWlJRk4xWWxCaGRIUmxjbTVDVnowaVZtVnlkR2xqWVd3aUlGTjFZa0poWTJ0bmNtOTFibVJEYjJ4dmNrSlhQU0pYYUdsMFpTSWdVM1ZpUm05eVpXZHliM1Z1WkVOdmJHOXlRbGM5SWtKc1lXTnJJaUJUZFdKTWFXNWxRMjlzYjNKQ1Z6MGlRbXhoWTJzaUlGTjFZa3hwYm1WVGRIbHNaVUpYUFNKRVlYTm9MVVJ2ZEMxRWIzUWlJRk4xWWt4cGJtVlhhV1IwYUVKWFBTSXpJaUF2UGcwS0lDQWdJRHhEYjJ4dmNpQkhjbTkxY0VsRVBTSXpJaUJFYVhOd2JHRjVUM0prWlhJOUlqSWlJRTVoYldVOUlrSnNZV05ySWlCU1IwSTlJa1pHTURBd01EQXdJaUJKYm5SbGJuTnBkSGs5SWtSaGNtc2lJRk4xWWxCaGRIUmxjbTVDVnowaVNHOXlhWHB2Ym5SaGJDSWdVM1ZpUW1GamEyZHliM1Z1WkVOdmJHOXlRbGM5SWxkb2FYUmxJaUJUZFdKR2IzSmxaM0p2ZFc1a1EyOXNiM0pDVnowaVFteGhZMnNpSUZOMVlreHBibVZEYjJ4dmNrSlhQU0pDYkdGamF5SWdVM1ZpVEdsdVpWTjBlV3hsUWxjOUlrUmhjMmd0Ukc5MExVUnZkQ0lnVTNWaVRHbHVaVmRwWkhSb1FsYzlJakVpSUM4K0RRb2dJQ0FnUEVOdmJHOXlJRWR5YjNWd1NVUTlJakVpSUVScGMzQnNZWGxQY21SbGNqMGlNeUlnVG1GdFpUMGlSM0poZVNBeElpQlNSMEk5SWtaR016TXpNek16SWlCSmJuUmxibk5wZEhrOUlrUmhjbXNpSUZOMVlreHBibVZYYVdSMGFFSlhQU0kwT1NJZ0x6NE5DaUFnSUNBOFEyOXNiM0lnUjNKdmRYQkpSRDBpTVNJZ1JHbHpjR3hoZVU5eVpHVnlQU0kwSWlCT1lXMWxQU0pIY21GNUlESWlJRkpIUWowaVJrWTFRelZETlVNaUlFbHVkR1Z1YzJsMGVUMGlSR0Z5YXlJZ1UzVmlUR2x1WlZkcFpIUm9RbGM5SWpRNUlpQXZQZzBLSUNBZ0lEeERiMnh2Y2lCSGNtOTFjRWxFUFNJeElpQkVhWE53YkdGNVQzSmtaWEk5SWpVaUlFNWhiV1U5SWtkeVlYa2dNeUlnVWtkQ1BTSkdSamcxT0RVNE5TSWdTVzUwWlc1emFYUjVQU0pNYVdkb2RDSWdVM1ZpVEdsdVpWZHBaSFJvUWxjOUlqUTVJaUF2UGcwS0lDQWdJRHhEYjJ4dmNpQkhjbTkxY0VsRVBTSXhJaUJFYVhOd2JHRjVUM0prWlhJOUlqWWlJRTVoYldVOUlrZHlZWGtnTkNJZ1VrZENQU0pHUmtJMFFqUkNOQ0lnU1c1MFpXNXphWFI1UFNKTWFXZG9kQ0lnVTNWaVRHbHVaVmRwWkhSb1FsYzlJalE1SWlBdlBnMEtJQ0FnSUR4RGIyeHZjaUJIY205MWNFbEVQU0l4SWlCRWFYTndiR0Y1VDNKa1pYSTlJamNpSUU1aGJXVTlJa2R5WVhrZ05TSWdVa2RDUFNKR1JrUTJSRFpFTmlJZ1NXNTBaVzV6YVhSNVBTSk1hV2RvZENJZ1UzVmlUR2x1WlZkcFpIUm9RbGM5SWpRNUlpQXZQZzBLSUNBZ0lEeERiMnh2Y2lCSGNtOTFjRWxFUFNJeElpQkVhWE53YkdGNVQzSmtaWEk5SWpnaUlFNWhiV1U5SWtJMElpQlNSMEk5SWtaR01EQXlNa1F5SWlCSmJuUmxibk5wZEhrOUlrUmhjbXNpSUZOMVlreHBibVZYYVdSMGFFSlhQU0kwT1NJZ0x6NE5DaUFnSUNBOFEyOXNiM0lnUjNKdmRYQkpSRDBpTVNJZ1JHbHpjR3hoZVU5eVpHVnlQU0k1SWlCT1lXMWxQU0pDSWlCU1IwSTlJa1pHTVRnelJVWkdJaUJKYm5SbGJuTnBkSGs5SWtSaGNtc2lJRk4xWWt4cGJtVlhhV1IwYUVKWFBTSTBPU0lnTHo0TkNpQWdJQ0E4UTI5c2IzSWdSM0p2ZFhCSlJEMGlNU0lnUkdsemNHeGhlVTl5WkdWeVBTSXhNQ0lnVG1GdFpUMGlRak1pSUZKSFFqMGlSa1kzTlRoRFJrWWlJRWx1ZEdWdWMybDBlVDBpVEdsbmFIUWlJRk4xWWt4cGJtVlhhV1IwYUVKWFBTSTBPU0lnTHo0TkNpQWdJQ0E4UTI5c2IzSWdSM0p2ZFhCSlJEMGlNU0lnUkdsemNHeGhlVTl5WkdWeVBTSXhNU0lnVG1GdFpUMGlRaklpSUZKSFFqMGlSa1pCTTBJeVJrWWlJRWx1ZEdWdWMybDBlVDBpVEdsbmFIUWlJRk4xWWt4cGJtVlhhV1IwYUVKWFBTSTBPU0lnTHo0TkNpQWdJQ0E4UTI5c2IzSWdSM0p2ZFhCSlJEMGlNU0lnUkdsemNHeGhlVTl5WkdWeVBTSXhNaUlnVG1GdFpUMGlRakVpSUZKSFFqMGlSa1pFTVVRNVJrWWlJRWx1ZEdWdWMybDBlVDBpVEdsbmFIUWlJRk4xWWt4cGJtVlhhV1IwYUVKWFBTSTBPU0lnTHo0TkNpQWdJQ0E4UTI5c2IzSWdSM0p2ZFhCSlJEMGlNU0lnUkdsemNHeGhlVTl5WkdWeVBTSXhNeUlnVG1GdFpUMGlRelFpSUZKSFFqMGlSa1pETURsQk1EQWlJRWx1ZEdWdWMybDBlVDBpVEdsbmFIUWlJRk4xWWt4cGJtVlhhV1IwYUVKWFBTSTBPU0lnTHo0TkNpQWdJQ0E4UTI5c2IzSWdSM0p2ZFhCSlJEMGlNU0lnUkdsemNHeGhlVTl5WkdWeVBTSXhOQ0lnVG1GdFpUMGlReUlnVWtkQ1BTSkdSa1pHUTBVd01DSWdTVzUwWlc1emFYUjVQU0pNYVdkb2RDSWdVM1ZpVEdsdVpWZHBaSFJvUWxjOUlqUTVJaUF2UGcwS0lDQWdJRHhEYjJ4dmNpQkhjbTkxY0VsRVBTSXhJaUJFYVhOd2JHRjVUM0prWlhJOUlqRTFJaUJPWVcxbFBTSkRNeUlnVWtkQ1BTSkdSa1pHUlRFMk55SWdTVzUwWlc1emFYUjVQU0pNYVdkb2RDSWdVM1ZpVEdsdVpWZHBaSFJvUWxjOUlqUTVJaUF2UGcwS0lDQWdJRHhEYjJ4dmNpQkhjbTkxY0VsRVBTSXhJaUJFYVhOd2JHRjVUM0prWlhJOUlqRTJJaUJPWVcxbFBTSkRNaUlnVWtkQ1BTSkdSa1pHUlVJNU9TSWdTVzUwWlc1emFYUjVQU0pNYVdkb2RDSWdVM1ZpVEdsdVpWZHBaSFJvUWxjOUlqUTVJaUF2UGcwS0lDQWdJRHhEYjJ4dmNpQkhjbTkxY0VsRVBTSXhJaUJFYVhOd2JHRjVUM0prWlhJOUlqRTNJaUJPWVcxbFBTSkRNU0lnVWtkQ1BTSkdSa1pHUmpWRFFpSWdTVzUwWlc1emFYUjVQU0pNYVdkb2RDSWdVM1ZpVEdsdVpWZHBaSFJvUWxjOUlqUTVJaUF2UGcwS0lDQWdJRHhEYjJ4dmNpQkhjbTkxY0VsRVBTSXhJaUJFYVhOd2JHRjVUM0prWlhJOUlqRTRJaUJPWVcxbFBTSkVOQ0lnVWtkQ1BTSkdSakF3T1VFd01DSWdTVzUwWlc1emFYUjVQU0pNYVdkb2RDSWdVM1ZpVEdsdVpWZHBaSFJvUWxjOUlqUTVJaUF2UGcwS0lDQWdJRHhEYjJ4dmNpQkhjbTkxY0VsRVBTSXhJaUJFYVhOd2JHRjVUM0prWlhJOUlqRTVJaUJPWVcxbFBTSkVJaUJTUjBJOUlrWkdNREJEUlRBd0lpQkpiblJsYm5OcGRIazlJa3hwWjJoMElpQlRkV0pNYVc1bFYybGtkR2hDVnowaU5Ea2lJQzgrRFFvZ0lDQWdQRU52Ykc5eUlFZHliM1Z3U1VROUlqRWlJRVJwYzNCc1lYbFBjbVJsY2owaU1qQWlJRTVoYldVOUlrUXpJaUJTUjBJOUlrWkdORGxHUmpRNUlpQkpiblJsYm5OcGRIazlJa3hwWjJoMElpQlRkV0pNYVc1bFYybGtkR2hDVnowaU5Ea2lJQzgrRFFvZ0lDQWdQRU52Ykc5eUlFZHliM1Z3U1VROUlqRWlJRVJwYzNCc1lYbFBjbVJsY2owaU1qRWlJRTVoYldVOUlrUXlJaUJTUjBJOUlrWkdPRFZHUmpnMUlpQkpiblJsYm5OcGRIazlJa3hwWjJoMElpQlRkV0pNYVc1bFYybGtkR2hDVnowaU5Ea2lJQzgrRFFvZ0lDQWdQRU52Ykc5eUlFZHliM1Z3U1VROUlqRWlJRVJwYzNCc1lYbFBjbVJsY2owaU1qSWlJRTVoYldVOUlrUXhJaUJTUjBJOUlrWkdRekZHUmtNeElpQkpiblJsYm5OcGRIazlJa3hwWjJoMElpQlRkV0pNYVc1bFYybGtkR2hDVnowaU5Ea2lJQzgrRFFvZ0lDQWdQRU52Ykc5eUlFZHliM1Z3U1VROUlqRWlJRVJwYzNCc1lYbFBjbVJsY2owaU1qTWlJRTVoYldVOUlrWWlJRkpIUWowaVJrWXdNVEl4TmpraUlFbHVkR1Z1YzJsMGVUMGlSR0Z5YXlJZ1UzVmlUR2x1WlZkcFpIUm9RbGM5SWpRNUlpQXZQZzBLSUNBZ0lEeERiMnh2Y2lCSGNtOTFjRWxFUFNJeElpQkVhWE53YkdGNVQzSmtaWEk5SWpJMElpQk9ZVzFsUFNKRklpQlNSMEk5SWtaR05ERTFPVGhHSWlCSmJuUmxibk5wZEhrOUlrUmhjbXNpSUZOMVlreHBibVZYYVdSMGFFSlhQU0kwT1NJZ0x6NE5DaUFnSUNBOFEyOXNiM0lnUjNKdmRYQkpSRDBpTVNJZ1JHbHpjR3hoZVU5eVpHVnlQU0l5TlNJZ1RtRnRaVDBpUlRNaUlGSkhRajBpUmtZNE1qazNRemNpSUVsdWRHVnVjMmwwZVQwaVRHbG5hSFFpSUZOMVlreHBibVZYYVdSMGFFSlhQU0kwT1NJZ0x6NE5DaUFnSUNBOFEyOXNiM0lnUjNKdmRYQkpSRDBpTVNJZ1JHbHpjR3hoZVU5eVpHVnlQU0l5TmlJZ1RtRnRaVDBpUlRJaUlGSkhRajBpUmtaQlFrSTVSRGtpSUVsdWRHVnVjMmwwZVQwaVRHbG5hSFFpSUZOMVlreHBibVZYYVdSMGFFSlhQU0kwT1NJZ0x6NE5DaUFnSUNBOFEyOXNiM0lnUjNKdmRYQkpSRDBpTVNJZ1JHbHpjR3hoZVU5eVpHVnlQU0l5TnlJZ1RtRnRaVDBpUlRFaUlGSkhRajBpUmtaRU5VUkRSVU1pSUVsdWRHVnVjMmwwZVQwaVRHbG5hSFFpSUZOMVlreHBibVZYYVdSMGFFSlhQU0kwT1NJZ0x6NE5DaUFnSUNBOFEyOXNiM0lnUjNKdmRYQkpSRDBpTVNJZ1JHbHpjR3hoZVU5eVpHVnlQU0l5T0NJZ1RtRnRaVDBpUVNJZ1VrZENQU0pHUmtZek1EWXdNQ0lnU1c1MFpXNXphWFI1UFNKRVlYSnJJaUJKYzBocFoyaHNhV2RvZEVOdmJHOXlQU0owY25WbElpQlRkV0pRWVhSMFpYSnVRbGM5SWxOdmJHbGtJaUJUZFdKQ1lXTnJaM0p2ZFc1a1EyOXNiM0pDVnowaVFteGhZMnNpSUZOMVlrWnZjbVZuY205MWJtUkRiMnh2Y2tKWFBTSkNiR0ZqYXlJZ1UzVmlUR2x1WlVOdmJHOXlRbGM5SWtKc1lXTnJJaUJUZFdKTWFXNWxVM1I1YkdWQ1Z6MGlVMjlzYVdRaUlGTjFZa3hwYm1WWGFXUjBhRUpYUFNJeE1EWWlJQzgrRFFvZ0lEd3ZVR0ZzWlhSMFpUNE5DaUFnUEVSeVlYZFBjbVJsY25NK0RRb2dJQ0FnUEVKaGNuTkJibVJDZFdKaWJHVnpQZzBLSUNBZ0lDQWdQRU52Ykc5eVVtVm1JR2xrUFNKT2IxTm9ZV1JwYm1jaVBrZHlZWGtnTkR3dlEyOXNiM0pTWldZK0RRb2dJQ0FnSUNBOFEyOXNiM0pTWldZZ2FXUTlJa0oxWW1Kc1pYTk9iMU5vWVdScGJtY2lQa2R5WVhrZ05Ed3ZRMjlzYjNKU1pXWStEUW9nSUNBZ0lDQThRMjlzYjNJK0RRb2dJQ0FnSUNBZ0lEeERiMnh2Y2xKbFppQnBaRDBpUTI5c2IzSWdNREVpUGtkeVlYa2dNVHd2UTI5c2IzSlNaV1krRFFvZ0lDQWdJQ0FnSUR4RGIyeHZjbEpsWmlCcFpEMGlRMjlzYjNJZ01ESWlQa2R5WVhrZ01qd3ZRMjlzYjNKU1pXWStEUW9nSUNBZ0lDQWdJRHhEYjJ4dmNsSmxaaUJwWkQwaVEyOXNiM0lnTURNaVBrZHlZWGtnTXp3dlEyOXNiM0pTWldZK0RRb2dJQ0FnSUNBZ0lEeERiMnh2Y2xKbFppQnBaRDBpUTI5c2IzSWdNRFFpUGtkeVlYa2dORHd2UTI5c2IzSlNaV1krRFFvZ0lDQWdJQ0FnSUR4RGIyeHZjbEpsWmlCcFpEMGlRMjlzYjNJZ01EVWlQa2R5WVhrZ05Ud3ZRMjlzYjNKU1pXWStEUW9nSUNBZ0lDQWdJRHhEYjJ4dmNsSmxaaUJwWkQwaVEyOXNiM0lnTURZaVBrSTBQQzlEYjJ4dmNsSmxaajROQ2lBZ0lDQWdJQ0FnUEVOdmJHOXlVbVZtSUdsa1BTSkRiMnh2Y2lBd055SStRand2UTI5c2IzSlNaV1krRFFvZ0lDQWdJQ0FnSUR4RGIyeHZjbEpsWmlCcFpEMGlRMjlzYjNJZ01EZ2lQa0l6UEM5RGIyeHZjbEpsWmo0TkNpQWdJQ0FnSUNBZ1BFTnZiRzl5VW1WbUlHbGtQU0pEYjJ4dmNpQXdPU0krUWpJOEwwTnZiRzl5VW1WbVBnMEtJQ0FnSUNBZ0lDQThRMjlzYjNKU1pXWWdhV1E5SWtOdmJHOXlJREV3SWo1Q01Ud3ZRMjlzYjNKU1pXWStEUW9nSUNBZ0lDQWdJRHhEYjJ4dmNsSmxaaUJwWkQwaVEyOXNiM0lnTVRFaVBrTTBQQzlEYjJ4dmNsSmxaajROQ2lBZ0lDQWdJQ0FnUEVOdmJHOXlVbVZtSUdsa1BTSkRiMnh2Y2lBeE1pSStRend2UTI5c2IzSlNaV1krRFFvZ0lDQWdJQ0FnSUR4RGIyeHZjbEpsWmlCcFpEMGlRMjlzYjNJZ01UTWlQa016UEM5RGIyeHZjbEpsWmo0TkNpQWdJQ0FnSUNBZ1BFTnZiRzl5VW1WbUlHbGtQU0pEYjJ4dmNpQXhOQ0krUXpJOEwwTnZiRzl5VW1WbVBnMEtJQ0FnSUNBZ0lDQThRMjlzYjNKU1pXWWdhV1E5SWtOdmJHOXlJREUxSWo1RE1Ud3ZRMjlzYjNKU1pXWStEUW9nSUNBZ0lDQWdJRHhEYjJ4dmNsSmxaaUJwWkQwaVEyOXNiM0lnTVRZaVBrUTBQQzlEYjJ4dmNsSmxaajROQ2lBZ0lDQWdJQ0FnUEVOdmJHOXlVbVZtSUdsa1BTSkRiMnh2Y2lBeE55SStSRHd2UTI5c2IzSlNaV1krRFFvZ0lDQWdJQ0FnSUR4RGIyeHZjbEpsWmlCcFpEMGlRMjlzYjNJZ01UZ2lQa1F6UEM5RGIyeHZjbEpsWmo0TkNpQWdJQ0FnSUNBZ1BFTnZiRzl5VW1WbUlHbGtQU0pEYjJ4dmNpQXhPU0krUkRJOEwwTnZiRzl5VW1WbVBnMEtJQ0FnSUNBZ0lDQThRMjlzYjNKU1pXWWdhV1E5SWtOdmJHOXlJREl3SWo1RU1Ud3ZRMjlzYjNKU1pXWStEUW9nSUNBZ0lDQWdJRHhEYjJ4dmNsSmxaaUJwWkQwaVEyOXNiM0lnTWpFaVBrWThMME52Ykc5eVVtVm1QZzBLSUNBZ0lDQWdJQ0E4UTI5c2IzSlNaV1lnYVdROUlrTnZiRzl5SURJeUlqNUZQQzlEYjJ4dmNsSmxaajROQ2lBZ0lDQWdJQ0FnUEVOdmJHOXlVbVZtSUdsa1BTSkRiMnh2Y2lBeU15SStSVE04TDBOdmJHOXlVbVZtUGcwS0lDQWdJQ0FnSUNBOFEyOXNiM0pTWldZZ2FXUTlJa052Ykc5eUlESTBJajVGTWp3dlEyOXNiM0pTWldZK0RRb2dJQ0FnSUNBZ0lEeERiMnh2Y2xKbFppQnBaRDBpUTI5c2IzSWdNalVpUGtVeFBDOURiMnh2Y2xKbFpqNE5DaUFnSUNBZ0lDQWdQRU52Ykc5eVVtVm1JR2xrUFNKRGIyeHZjaUF5TmlJK1FUd3ZRMjlzYjNKU1pXWStEUW9nSUNBZ0lDQWdJRHhEYjJ4dmNsSmxaaUJwWkQwaVEyOXNiM0lnTWpjaVBrZHlZWGtnTlR3dlEyOXNiM0pTWldZK0RRb2dJQ0FnSUNBOEwwTnZiRzl5UGcwS0lDQWdJRHd2UW1GeWMwRnVaRUoxWW1Kc1pYTStEUW9nSUNBZ1BFUmhkR0ZUWlhSTllYSnJaWEp6UGcwS0lDQWdJQ0FnUEVOdmJHOXlVbVZtSUdsa1BTSk9iMU5vWVdScGJtY2lQa2R5WVhrZ05Ed3ZRMjlzYjNKU1pXWStEUW9nSUNBZ0lDQThRMjlzYjNJK0RRb2dJQ0FnSUNBZ0lEeERiMnh2Y2xKbFppQnBaRDBpUTI5c2IzSWdNREVpUGtkeVlYa2dNVHd2UTI5c2IzSlNaV1krRFFvZ0lDQWdJQ0FnSUR4RGIyeHZjbEpsWmlCcFpEMGlRMjlzYjNJZ01ESWlQa2R5WVhrZ01qd3ZRMjlzYjNKU1pXWStEUW9nSUNBZ0lDQWdJRHhEYjJ4dmNsSmxaaUJwWkQwaVEyOXNiM0lnTURNaVBrZHlZWGtnTXp3dlEyOXNiM0pTWldZK0RRb2dJQ0FnSUNBZ0lEeERiMnh2Y2xKbFppQnBaRDBpUTI5c2IzSWdNRFFpUGtkeVlYa2dORHd2UTI5c2IzSlNaV1krRFFvZ0lDQWdJQ0FnSUR4RGIyeHZjbEpsWmlCcFpEMGlRMjlzYjNJZ01EVWlQa2R5WVhrZ05Ud3ZRMjlzYjNKU1pXWStEUW9nSUNBZ0lDQWdJRHhEYjJ4dmNsSmxaaUJwWkQwaVEyOXNiM0lnTURZaVBrSTBQQzlEYjJ4dmNsSmxaajROQ2lBZ0lDQWdJQ0FnUEVOdmJHOXlVbVZtSUdsa1BTSkRiMnh2Y2lBd055SStRand2UTI5c2IzSlNaV1krRFFvZ0lDQWdJQ0FnSUR4RGIyeHZjbEpsWmlCcFpEMGlRMjlzYjNJZ01EZ2lQa0l6UEM5RGIyeHZjbEpsWmo0TkNpQWdJQ0FnSUNBZ1BFTnZiRzl5VW1WbUlHbGtQU0pEYjJ4dmNpQXdPU0krUWpJOEwwTnZiRzl5VW1WbVBnMEtJQ0FnSUNBZ0lDQThRMjlzYjNKU1pXWWdhV1E5SWtOdmJHOXlJREV3SWo1Q01Ud3ZRMjlzYjNKU1pXWStEUW9nSUNBZ0lDQWdJRHhEYjJ4dmNsSmxaaUJwWkQwaVEyOXNiM0lnTVRFaVBrTTBQQzlEYjJ4dmNsSmxaajROQ2lBZ0lDQWdJQ0FnUEVOdmJHOXlVbVZtSUdsa1BTSkRiMnh2Y2lBeE1pSStRend2UTI5c2IzSlNaV1krRFFvZ0lDQWdJQ0FnSUR4RGIyeHZjbEpsWmlCcFpEMGlRMjlzYjNJZ01UTWlQa016UEM5RGIyeHZjbEpsWmo0TkNpQWdJQ0FnSUNBZ1BFTnZiRzl5VW1WbUlHbGtQU0pEYjJ4dmNpQXhOQ0krUXpJOEwwTnZiRzl5VW1WbVBnMEtJQ0FnSUNBZ0lDQThRMjlzYjNKU1pXWWdhV1E5SWtOdmJHOXlJREUxSWo1RE1Ud3ZRMjlzYjNKU1pXWStEUW9nSUNBZ0lDQWdJRHhEYjJ4dmNsSmxaaUJwWkQwaVEyOXNiM0lnTVRZaVBrUTBQQzlEYjJ4dmNsSmxaajROQ2lBZ0lDQWdJQ0FnUEVOdmJHOXlVbVZtSUdsa1BTSkRiMnh2Y2lBeE55SStSRHd2UTI5c2IzSlNaV1krRFFvZ0lDQWdJQ0FnSUR4RGIyeHZjbEpsWmlCcFpEMGlRMjlzYjNJZ01UZ2lQa1F6UEM5RGIyeHZjbEpsWmo0TkNpQWdJQ0FnSUNBZ1BFTnZiRzl5VW1WbUlHbGtQU0pEYjJ4dmNpQXhPU0krUkRJOEwwTnZiRzl5VW1WbVBnMEtJQ0FnSUNBZ0lDQThRMjlzYjNKU1pXWWdhV1E5SWtOdmJHOXlJREl3SWo1RU1Ud3ZRMjlzYjNKU1pXWStEUW9nSUNBZ0lDQWdJRHhEYjJ4dmNsSmxaaUJwWkQwaVEyOXNiM0lnTWpFaVBrWThMME52Ykc5eVVtVm1QZzBLSUNBZ0lDQWdJQ0E4UTI5c2IzSlNaV1lnYVdROUlrTnZiRzl5SURJeUlqNUZQQzlEYjJ4dmNsSmxaajROQ2lBZ0lDQWdJQ0FnUEVOdmJHOXlVbVZtSUdsa1BTSkRiMnh2Y2lBeU15SStSVE04TDBOdmJHOXlVbVZtUGcwS0lDQWdJQ0FnSUNBOFEyOXNiM0pTWldZZ2FXUTlJa052Ykc5eUlESTBJajVGTWp3dlEyOXNiM0pTWldZK0RRb2dJQ0FnSUNBZ0lEeERiMnh2Y2xKbFppQnBaRDBpUTI5c2IzSWdNalVpUGtVeFBDOURiMnh2Y2xKbFpqNE5DaUFnSUNBZ0lEd3ZRMjlzYjNJK0RRb2dJQ0FnUEM5RVlYUmhVMlYwVFdGeWEyVnljejROQ2lBZ0lDQThUR2x1WlhNK0RRb2dJQ0FnSUNBOFUzUjViR1ZQWm1ZK0RRb2dJQ0FnSUNBZ0lEeERiMnh2Y2xKbFppQnBaRDBpVG05VGFHRmthVzVuSWo1SGNtRjVJREU4TDBOdmJHOXlVbVZtUGcwS0lDQWdJQ0FnSUNBOFEyOXNiM0krRFFvZ0lDQWdJQ0FnSUNBZ1BFTnZiRzl5VW1WbUlHbGtQU0pEYjJ4dmNpQXdNU0krUjNKaGVTQXhQQzlEYjJ4dmNsSmxaajROQ2lBZ0lDQWdJQ0FnSUNBOFEyOXNiM0pTWldZZ2FXUTlJa052Ykc5eUlEQXlJajVIY21GNUlESThMME52Ykc5eVVtVm1QZzBLSUNBZ0lDQWdJQ0FnSUR4RGIyeHZjbEpsWmlCcFpEMGlRMjlzYjNJZ01ETWlQa2R5WVhrZ016d3ZRMjlzYjNKU1pXWStEUW9nSUNBZ0lDQWdJQ0FnUEVOdmJHOXlVbVZtSUdsa1BTSkRiMnh2Y2lBd05DSStSM0poZVNBMFBDOURiMnh2Y2xKbFpqNE5DaUFnSUNBZ0lDQWdJQ0E4UTI5c2IzSlNaV1lnYVdROUlrTnZiRzl5SURBMUlqNUhjbUY1SURVOEwwTnZiRzl5VW1WbVBnMEtJQ0FnSUNBZ0lDQWdJRHhEYjJ4dmNsSmxaaUJwWkQwaVEyOXNiM0lnTURZaVBrSTBQQzlEYjJ4dmNsSmxaajROQ2lBZ0lDQWdJQ0FnSUNBOFEyOXNiM0pTWldZZ2FXUTlJa052Ykc5eUlEQTNJajVDUEM5RGIyeHZjbEpsWmo0TkNpQWdJQ0FnSUNBZ0lDQThRMjlzYjNKU1pXWWdhV1E5SWtOdmJHOXlJREE0SWo1Q016d3ZRMjlzYjNKU1pXWStEUW9nSUNBZ0lDQWdJQ0FnUEVOdmJHOXlVbVZtSUdsa1BTSkRiMnh2Y2lBd09TSStRakk4TDBOdmJHOXlVbVZtUGcwS0lDQWdJQ0FnSUNBZ0lEeERiMnh2Y2xKbFppQnBaRDBpUTI5c2IzSWdNVEFpUGtJeFBDOURiMnh2Y2xKbFpqNE5DaUFnSUNBZ0lDQWdJQ0E4UTI5c2IzSlNaV1lnYVdROUlrTnZiRzl5SURFeElqNURORHd2UTI5c2IzSlNaV1krRFFvZ0lDQWdJQ0FnSUNBZ1BFTnZiRzl5VW1WbUlHbGtQU0pEYjJ4dmNpQXhNaUkrUXp3dlEyOXNiM0pTWldZK0RRb2dJQ0FnSUNBZ0lDQWdQRU52Ykc5eVVtVm1JR2xrUFNKRGIyeHZjaUF4TXlJK1F6TThMME52Ykc5eVVtVm1QZzBLSUNBZ0lDQWdJQ0FnSUR4RGIyeHZjbEpsWmlCcFpEMGlRMjlzYjNJZ01UUWlQa015UEM5RGIyeHZjbEpsWmo0TkNpQWdJQ0FnSUNBZ0lDQThRMjlzYjNKU1pXWWdhV1E5SWtOdmJHOXlJREUxSWo1RE1Ud3ZRMjlzYjNKU1pXWStEUW9nSUNBZ0lDQWdJQ0FnUEVOdmJHOXlVbVZtSUdsa1BTSkRiMnh2Y2lBeE5pSStSRFE4TDBOdmJHOXlVbVZtUGcwS0lDQWdJQ0FnSUNBZ0lEeERiMnh2Y2xKbFppQnBaRDBpUTI5c2IzSWdNVGNpUGtROEwwTnZiRzl5VW1WbVBnMEtJQ0FnSUNBZ0lDQWdJRHhEYjJ4dmNsSmxaaUJwWkQwaVEyOXNiM0lnTVRnaVBrUXpQQzlEYjJ4dmNsSmxaajROQ2lBZ0lDQWdJQ0FnSUNBOFEyOXNiM0pTWldZZ2FXUTlJa052Ykc5eUlERTVJajVFTWp3dlEyOXNiM0pTWldZK0RRb2dJQ0FnSUNBZ0lDQWdQRU52Ykc5eVVtVm1JR2xrUFNKRGIyeHZjaUF5TUNJK1JERThMME52Ykc5eVVtVm1QZzBLSUNBZ0lDQWdJQ0FnSUR4RGIyeHZjbEpsWmlCcFpEMGlRMjlzYjNJZ01qRWlQa1k4TDBOdmJHOXlVbVZtUGcwS0lDQWdJQ0FnSUNBZ0lEeERiMnh2Y2xKbFppQnBaRDBpUTI5c2IzSWdNaklpUGtVOEwwTnZiRzl5VW1WbVBnMEtJQ0FnSUNBZ0lDQWdJRHhEYjJ4dmNsSmxaaUJwWkQwaVEyOXNiM0lnTWpNaVBrVXpQQzlEYjJ4dmNsSmxaajROQ2lBZ0lDQWdJQ0FnSUNBOFEyOXNiM0pTWldZZ2FXUTlJa052Ykc5eUlESTBJajVGTWp3dlEyOXNiM0pTWldZK0RRb2dJQ0FnSUNBZ0lDQWdQRU52Ykc5eVVtVm1JR2xrUFNKRGIyeHZjaUF5TlNJK1JURThMME52Ykc5eVVtVm1QZzBLSUNBZ0lDQWdJQ0E4TDBOdmJHOXlQZzBLSUNBZ0lDQWdQQzlUZEhsc1pVOW1aajROQ2lBZ0lDQWdJRHhUZEhsc1pVOXVQZzBLSUNBZ0lDQWdJQ0E4UTI5c2IzSlNaV1lnYVdROUlrNXZVMmhoWkdsdVp5SStSM0poZVNBeFBDOURiMnh2Y2xKbFpqNE5DaUFnSUNBZ0lDQWdQRU52Ykc5eVBnMEtJQ0FnSUNBZ0lDQWdJRHhEYjJ4dmNsSmxaaUJwWkQwaVEyOXNiM0lnTURFaVBrZHlZWGtnTVR3dlEyOXNiM0pTWldZK0RRb2dJQ0FnSUNBZ0lDQWdQRU52Ykc5eVVtVm1JR2xrUFNKRGIyeHZjaUF3TWlJK1IzSmhlU0F5UEM5RGIyeHZjbEpsWmo0TkNpQWdJQ0FnSUNBZ0lDQThRMjlzYjNKU1pXWWdhV1E5SWtOdmJHOXlJREF6SWo1SGNtRjVJRE04TDBOdmJHOXlVbVZtUGcwS0lDQWdJQ0FnSUNBZ0lEeERiMnh2Y2xKbFppQnBaRDBpUTI5c2IzSWdNRFFpUGtkeVlYa2dORHd2UTI5c2IzSlNaV1krRFFvZ0lDQWdJQ0FnSUNBZ1BFTnZiRzl5VW1WbUlHbGtQU0pEYjJ4dmNpQXdOU0krUjNKaGVTQTFQQzlEYjJ4dmNsSmxaajROQ2lBZ0lDQWdJQ0FnSUNBOFEyOXNiM0pTWldZZ2FXUTlJa052Ykc5eUlEQTJJajVDTkR3dlEyOXNiM0pTWldZK0RRb2dJQ0FnSUNBZ0lDQWdQRU52Ykc5eVVtVm1JR2xrUFNKRGIyeHZjaUF3TnlJK1Fqd3ZRMjlzYjNKU1pXWStEUW9nSUNBZ0lDQWdJQ0FnUEVOdmJHOXlVbVZtSUdsa1BTSkRiMnh2Y2lBd09DSStRak04TDBOdmJHOXlVbVZtUGcwS0lDQWdJQ0FnSUNBZ0lEeERiMnh2Y2xKbFppQnBaRDBpUTI5c2IzSWdNRGtpUGtJeVBDOURiMnh2Y2xKbFpqNE5DaUFnSUNBZ0lDQWdJQ0E4UTI5c2IzSlNaV1lnYVdROUlrTnZiRzl5SURFd0lqNUNNVHd2UTI5c2IzSlNaV1krRFFvZ0lDQWdJQ0FnSUNBZ1BFTnZiRzl5VW1WbUlHbGtQU0pEYjJ4dmNpQXhNU0krUXpROEwwTnZiRzl5VW1WbVBnMEtJQ0FnSUNBZ0lDQWdJRHhEYjJ4dmNsSmxaaUJwWkQwaVEyOXNiM0lnTVRJaVBrTThMME52Ykc5eVVtVm1QZzBLSUNBZ0lDQWdJQ0FnSUR4RGIyeHZjbEpsWmlCcFpEMGlRMjlzYjNJZ01UTWlQa016UEM5RGIyeHZjbEpsWmo0TkNpQWdJQ0FnSUNBZ0lDQThRMjlzYjNKU1pXWWdhV1E5SWtOdmJHOXlJREUwSWo1RE1qd3ZRMjlzYjNKU1pXWStEUW9nSUNBZ0lDQWdJQ0FnUEVOdmJHOXlVbVZtSUdsa1BTSkRiMnh2Y2lBeE5TSStRekU4TDBOdmJHOXlVbVZtUGcwS0lDQWdJQ0FnSUNBZ0lEeERiMnh2Y2xKbFppQnBaRDBpUTI5c2IzSWdNVFlpUGtRMFBDOURiMnh2Y2xKbFpqNE5DaUFnSUNBZ0lDQWdJQ0E4UTI5c2IzSlNaV1lnYVdROUlrTnZiRzl5SURFM0lqNUVQQzlEYjJ4dmNsSmxaajROQ2lBZ0lDQWdJQ0FnSUNBOFEyOXNiM0pTWldZZ2FXUTlJa052Ykc5eUlERTRJajVFTXp3dlEyOXNiM0pTWldZK0RRb2dJQ0FnSUNBZ0lDQWdQRU52Ykc5eVVtVm1JR2xrUFNKRGIyeHZjaUF4T1NJK1JESThMME52Ykc5eVVtVm1QZzBLSUNBZ0lDQWdJQ0FnSUR4RGIyeHZjbEpsWmlCcFpEMGlRMjlzYjNJZ01qQWlQa1F4UEM5RGIyeHZjbEpsWmo0TkNpQWdJQ0FnSUNBZ0lDQThRMjlzYjNKU1pXWWdhV1E5SWtOdmJHOXlJREl4SWo1R1BDOURiMnh2Y2xKbFpqNE5DaUFnSUNBZ0lDQWdJQ0E4UTI5c2IzSlNaV1lnYVdROUlrTnZiRzl5SURJeUlqNUZQQzlEYjJ4dmNsSmxaajROQ2lBZ0lDQWdJQ0FnSUNBOFEyOXNiM0pTWldZZ2FXUTlJa052Ykc5eUlESXpJajVGTXp3dlEyOXNiM0pTWldZK0RRb2dJQ0FnSUNBZ0lDQWdQRU52Ykc5eVVtVm1JR2xrUFNKRGIyeHZjaUF5TkNJK1JUSThMME52Ykc5eVVtVm1QZzBLSUNBZ0lDQWdJQ0FnSUR4RGIyeHZjbEpsWmlCcFpEMGlRMjlzYjNJZ01qVWlQa1V4UEM5RGIyeHZjbEpsWmo0TkNpQWdJQ0FnSUNBZ1BDOURiMnh2Y2o0TkNpQWdJQ0FnSUR3dlUzUjViR1ZQYmo0TkNpQWdJQ0E4TDB4cGJtVnpQZzBLSUNBZ0lEeEhZVzUwZEQ0TkNpQWdJQ0FnSUR4RGIyeHZjbEpsWmlCcFpEMGlTR1ZoWkdWeVFtRmphMmR5YjNWdVpDSStSM0poZVNBMVBDOURiMnh2Y2xKbFpqNE5DaUFnSUNBZ0lEeERiMnh2Y2xKbFppQnBaRDBpUW05eVpHVnlRVzVrVEdsdVpYTWlQbGRvYVhSbFBDOURiMnh2Y2xKbFpqNE5DaUFnSUNBZ0lEeERiMnh2Y2xKbFppQnBaRDBpVkdGemExTm9ZV1JwYm1jaVBrZHlZWGtnTlR3dlEyOXNiM0pTWldZK0RRb2dJQ0FnSUNBOFEyOXNiM0pTWldZZ2FXUTlJbFJwYldWUVpYSnBiMlJJYVdkb2RHeHBaMmgwSWo1SGNtRjVJRFU4TDBOdmJHOXlVbVZtUGcwS0lDQWdJQ0FnUEVOdmJHOXlVbVZtSUdsa1BTSlVhVzFsVTJoaFpHbHVaeUkrUjNKaGVTQTFQQzlEYjJ4dmNsSmxaajROQ2lBZ0lDQWdJRHhEYjJ4dmNsSmxaaUJwWkQwaVZHbHRaVk5sY0dGeVlYUnZjbk1pUGtkeVlYa2dOVHd2UTI5c2IzSlNaV1krRFFvZ0lDQWdJQ0E4UTI5c2IzSlNaV1lnYVdROUlsUmhjMnRUWlhCaGNtRjBiM0p6SWo1SGNtRjVJRFU4TDBOdmJHOXlVbVZtUGcwS0lDQWdJQ0FnUEVOdmJHOXlVbVZtSUdsa1BTSlVZWE5yVEdsemRDSStWMmhwZEdVOEwwTnZiRzl5VW1WbVBnMEtJQ0FnSUNBZ1BFTnZiRzl5VW1WbUlHbGtQU0pVWVhOclIzSnBaR3hwYm1WeklqNUhjbUY1SURVOEwwTnZiRzl5VW1WbVBnMEtJQ0FnSUNBZ1BFTnZiRzl5VW1WbUlHbGtQU0pFWVhSbFUyaGhaR2x1WnlJK1FUd3ZRMjlzYjNKU1pXWStEUW9nSUNBZ0lDQThRMjlzYjNKU1pXWWdhV1E5SWtSaGRHVlRhR0ZrYVc1blFtOXlaR1Z5SWo1WGFHbDBaVHd2UTI5c2IzSlNaV1krRFFvZ0lDQWdJQ0E4UTI5c2IzSlNaV1lnYVdROUlreHBibVZDY21GamEyVjBJajVDYkdGamF6d3ZRMjlzYjNKU1pXWStEUW9nSUNBZ0lDQThRMjlzYjNKU1pXWWdhV1E5SWsxcGJHVnpkRzl1WlNJK1FteGhZMnM4TDBOdmJHOXlVbVZtUGcwS0lDQWdJQ0FnUEVOdmJHOXlVbVZtSUdsa1BTSkVZWFJsYkdsdVpTSStRVHd2UTI5c2IzSlNaV1krRFFvZ0lDQWdJQ0E4UTI5c2IzSlNaV1lnYVdROUlsQnliMk5sYzNOQ1lXTnJaM0p2ZFc1a0lqNUhjbUY1SURNOEwwTnZiRzl5VW1WbVBnMEtJQ0FnSUNBZ1BFTnZiRzl5VW1WbUlHbGtQU0pRY205alpYTnpRbTl5WkdWeUlqNVhhR2wwWlR3dlEyOXNiM0pTWldZK0RRb2dJQ0FnSUNBOFEyOXNiM0pTWldZZ2FXUTlJa0poY2tKaFkydG5jbTkxYm1RaVBrZHlZWGtnTXp3dlEyOXNiM0pTWldZK0RRb2dJQ0FnSUNBOFEyOXNiM0pTWldZZ2FXUTlJa0poY2tKdmNtUmxjaUkrVjJocGRHVThMME52Ykc5eVVtVm1QZzBLSUNBZ0lDQWdQRU52Ykc5eVVtVm1JR2xrUFNKUWNtOWpaWE56UW1GamEyZHliM1Z1WkVGc2RDSStWMmhwZEdVOEwwTnZiRzl5VW1WbVBnMEtJQ0FnSUNBZ1BFTnZiRzl5VW1WbUlHbGtQU0pRY205alpYTnpRbTl5WkdWeVFXeDBJajVIY21GNUlETThMME52Ykc5eVVtVm1QZzBLSUNBZ0lDQWdQRU52Ykc5eVVtVm1JR2xrUFNKQ1lYSkNZV05yWjNKdmRXNWtRV3gwSWo1WGFHbDBaVHd2UTI5c2IzSlNaV1krRFFvZ0lDQWdJQ0E4UTI5c2IzSlNaV1lnYVdROUlrSmhja0p2Y21SbGNrRnNkQ0krUjNKaGVTQXpQQzlEYjJ4dmNsSmxaajROQ2lBZ0lDQWdJRHhEYjJ4dmNsSmxaaUJwWkQwaVJHRjBaVk5vWVdScGJtZEJiSFFpUGtFOEwwTnZiRzl5VW1WbVBnMEtJQ0FnSUNBZ1BFTnZiRzl5VW1WbUlHbGtQU0pFWVhSbFUyaGhaR2x1WjBKdmNtUmxja0ZzZENJK1YyaHBkR1U4TDBOdmJHOXlVbVZtUGcwS0lDQWdJQ0FnUEVOdmJHOXlVbVZtSUdsa1BTSk1hVzVsUW5KaFkydGxkRUZzZENJK1FteGhZMnM4TDBOdmJHOXlVbVZtUGcwS0lDQWdJQ0FnUEVOdmJHOXlVbVZtSUdsa1BTSk5hV3hsYzNSdmJtVkJiSFFpUGtKc1lXTnJQQzlEYjJ4dmNsSmxaajROQ2lBZ0lDQWdJRHhEYjJ4dmNsSmxaaUJwWkQwaVJHRjBaV3hwYm1WQmJIUWlQa0U4TDBOdmJHOXlVbVZtUGcwS0lDQWdJRHd2UjJGdWRIUStEUW9nSUNBZ1BFTm9ZWEowVEdsdVpYTStEUW9nSUNBZ0lDQThRMjlzYjNKU1pXWWdhV1E5SWxaaGJIVmxRWGhsY3lJK1FteGhZMnM4TDBOdmJHOXlVbVZtUGcwS0lDQWdJQ0FnUEVOdmJHOXlVbVZtSUdsa1BTSkRZWFJsWjI5eWFXTmhiRUY0WlhNaVBrSnNZV05yUEM5RGIyeHZjbEpsWmo0TkNpQWdJQ0FnSUR4RGIyeHZjbEpsWmlCcFpEMGlVWFZoWkhKaGJuUk1hVzVsY3lJK1FteGhZMnM4TDBOdmJHOXlVbVZtUGcwS0lDQWdJQ0FnUEVOdmJHOXlVbVZtSUdsa1BTSk9iM0p0WVhScGRtVkNZVzVrVEdsdVpYTWlQa0pzWVdOclBDOURiMnh2Y2xKbFpqNE5DaUFnSUNBZ0lEeERiMnh2Y2xKbFppQnBaRDBpUjNKdmQzUm9VMmhoY21WTWFXNWxjeUkrUW14aFkyczhMME52Ykc5eVVtVm1QZzBLSUNBZ0lDQWdQRU52Ykc5eVVtVm1JR2xrUFNKSGNtOTNkR2hIY205M2RHaE1hVzVsY3lJK1FteGhZMnM4TDBOdmJHOXlVbVZtUGcwS0lDQWdJQ0FnUEVOdmJHOXlVbVZtSUdsa1BTSk1hVzVsUW1Wc2IzZEVZWFJoUTI5c2RXMXVJajVDYkdGamF6d3ZRMjlzYjNKU1pXWStEUW9nSUNBZ0lDQThRMjlzYjNKU1pXWWdhV1E5SWtkeWFXUk1hVzVsY3lJK1FteGhZMnM4TDBOdmJHOXlVbVZtUGcwS0lDQWdJQ0FnUEVOdmJHOXlVbVZtSUdsa1BTSk9aWFJNYVc1bFUyVnlhV1Z6SWo1Q2JHRmphend2UTI5c2IzSlNaV1krRFFvZ0lDQWdJQ0E4UTI5c2IzSlNaV1lnYVdROUlrRjJaWEpoWjJWTWFXNWxjeUkrUW14aFkyczhMME52Ykc5eVVtVm1QZzBLSUNBZ0lDQWdQRU52Ykc5eVVtVm1JR2xrUFNKV1pYSjBhV05oYkV4cGJtVnpJajVDYkdGamF6d3ZRMjlzYjNKU1pXWStEUW9nSUNBZ0lDQThRMjlzYjNKU1pXWWdhV1E5SWtkeWIzZDBhRXhwYm1WeklqNUNiR0ZqYXp3dlEyOXNiM0pTWldZK0RRb2dJQ0FnSUNBOFEyOXNiM0pTWldZZ2FXUTlJa0poY2tOdmJYQmhjbWx6YjI1TWFXNWxjeUkrUW14aFkyczhMME52Ykc5eVVtVm1QZzBLSUNBZ0lDQWdQRU52Ykc5eVVtVm1JR2xrUFNKVFpXZHRaVzUwUTI5dGNHRnlhWE52Ymt4cGJtVnpJajVDYkdGamF6d3ZRMjlzYjNKU1pXWStEUW9nSUNBZ0lDQThRMjlzYjNKU1pXWWdhV1E5SWxObFoyMWxiblJEYjIxd1lYSnBjMjl1VUhKdmFtVmpkR2x1WjB4cGJtVnpJajVDYkdGamF6d3ZRMjlzYjNKU1pXWStEUW9nSUNBZ0lDQThRMjlzYjNKU1pXWWdhV1E5SWtOb1lYSjBRbTl5WkdWeUlqNUNiR0ZqYXp3dlEyOXNiM0pTWldZK0RRb2dJQ0FnSUNBOFEyOXNiM0pTWldZZ2FXUTlJbE5sWjIxbGJuUkNiM0prWlhJaVBsZG9hWFJsUEM5RGIyeHZjbEpsWmo0TkNpQWdJQ0FnSUR4RGIyeHZjbEpsWmlCcFpEMGlUR1ZuWlc1a1FtOXlaR1Z5SWo1Q2JHRmphend2UTI5c2IzSlNaV1krRFFvZ0lDQWdJQ0E4UTI5c2IzSlNaV1lnYVdROUlsSmxabVZ5Wlc1alpVSjFZbUpzWlVKdmNtUmxjaUkrUW14aFkyczhMME52Ykc5eVVtVm1QZzBLSUNBZ0lDQWdQRU52Ykc5eVVtVm1JR2xrUFNKVFpXZHRaVzUwVEdsdWEzTWlQa0pzWVdOclBDOURiMnh2Y2xKbFpqNE5DaUFnSUNBZ0lEeERiMnh2Y2xKbFppQnBaRDBpUVc1dWIzUmhkR2x2Ymt4cGJtVnpJajVDYkdGamF6d3ZRMjlzYjNKU1pXWStEUW9nSUNBZ0lDQThRMjlzYjNKU1pXWWdhV1E5SWtGNGFYTkNjbVZoYTB4cGJtVnpJajVDYkdGamF6d3ZRMjlzYjNKU1pXWStEUW9nSUNBZ1BDOURhR0Z5ZEV4cGJtVnpQZzBLSUNBZ0lEeE9aWFJNYVc1bGN6NE5DaUFnSUNBZ0lEeERiMnh2Y2xKbFppQnBaRDBpUTI5c2IzSWlQa0pzWVdOclBDOURiMnh2Y2xKbFpqNE5DaUFnSUNBOEwwNWxkRXhwYm1WelBnMEtJQ0FnSUR4VFpXZHRaVzUwUW05eVpHVnljejROQ2lBZ0lDQWdJRHhEYjJ4dmNsSmxaaUJwWkQwaVEyOXNiM0lpUGxkb2FYUmxQQzlEYjJ4dmNsSmxaajROQ2lBZ0lDQThMMU5sWjIxbGJuUkNiM0prWlhKelBnMEtJQ0FnSUR4QmVHVnpUR2x1WlhNK0RRb2dJQ0FnSUNBOFEyOXNiM0pTWldZZ2FXUTlJa052Ykc5eUlqNUNiR0ZqYXp3dlEyOXNiM0pTWldZK0RRb2dJQ0FnUEM5QmVHVnpUR2x1WlhNK0RRb2dJQ0FnUEVGa2IzSnViV1Z1ZEV4cGJtVnpQZzBLSUNBZ0lDQWdQRU52Ykc5eVVtVm1JR2xrUFNKRGIyeHZjaUkrUW14aFkyczhMME52Ykc5eVVtVm1QZzBLSUNBZ0lEd3ZRV1J2Y201dFpXNTBUR2x1WlhNK0RRb2dJQ0FnUEVKMVltSnNaWE5UWTJGMGRHVnljMEpoWTJ0bmNtOTFibVErRFFvZ0lDQWdJQ0E4UTI5c2IzSlNaV1lnYVdROUlrTnZiRzl5SWo1SGNtRjVJRFU4TDBOdmJHOXlVbVZtUGcwS0lDQWdJRHd2UW5WaVlteGxjMU5qWVhSMFpYSnpRbUZqYTJkeWIzVnVaRDROQ2lBZ0lDQThRMmhoY25SQ2IzSmtaWEkrRFFvZ0lDQWdJQ0E4UTI5c2IzSlNaV1lnYVdROUlrTnZiRzl5SWo1Q2JHRmphend2UTI5c2IzSlNaV1krRFFvZ0lDQWdQQzlEYUdGeWRFSnZjbVJsY2o0TkNpQWdQQzlFY21GM1QzSmtaWEp6UGcwS0lDQThVMlYwZEdsdVozTStEUW9nSUNBZ1BGTm9iM2RQWm1acFkyVkRiMlJsUGtaaGJITmxQQzlUYUc5M1QyWm1hV05sUTI5a1pUNE5DaUFnSUNBOFUyaHZkMFpwYkdWT1lXMWxQa1poYkhObFBDOVRhRzkzUm1sc1pVNWhiV1UrRFFvZ0lEd3ZVMlYwZEdsdVozTStEUW84TDFSb1pXMWxQZz09PC9NZWtrb0RhdGE+DQogIDxJbmNsdWRlR3JheXM+dHJ1ZTwvSW5jbHVkZUdyYXlzPg0KICA8TGFzdFVwZGF0ZWQ+MjAyNC0xMS0wMVQxODoyODoyMi41MDEwMzk2WjwvTGFzdFVwZGF0ZWQ+DQogIDxTa2lwUHJvZHVjdGlvbk1vZGU+ZmFsc2U8L1NraXBQcm9kdWN0aW9uTW9kZT4NCiAgPEJhY2tncm91bmRDb2xvckhleD5GRkZGRkY8L0JhY2tncm91bmRDb2xvckhleD4NCiAgPFBhbGV0dGVEYXRhIC8+DQogIDxOYW1lc0V4dD4NCiAgICA8U2hvcnROYW1lPkE8L1Nob3J0TmFtZT4NCiAgICA8TG9uZ05hbWUgLz4NCiAgICA8QmFzZUNvbG9ySGV4PkYzMDYwMDwvQmFzZUNvbG9ySGV4Pg0KICAgIDxDb250cmFzdGluZ0NvbG9ySGV4PkZGRkZGRjwvQ29udHJhc3RpbmdDb2xvckhleD4NCiAgICA8SXNIaWdobGlnaHQ+dHJ1ZTwvSXNIaWdobGlnaHQ+DQogICAgPElzVGV4dD5mYWxzZTwvSXNUZXh0Pg0KICA8L05hbWVzRXh0Pg0KICA8TmFtZXNFeHQ+DQogICAgPFNob3J0TmFtZT5CPC9TaG9ydE5hbWU+DQogICAgPExvbmdOYW1lIC8+DQogICAgPEJhc2VDb2xvckhleD4xODNFRkY8L0Jhc2VDb2xvckhleD4NCiAgICA8Q29udHJhc3RpbmdDb2xvckhleD5GRkZGRkY8L0NvbnRyYXN0aW5nQ29sb3JIZXg+DQogICAgPElzSGlnaGxpZ2h0PmZhbHNlPC9Jc0hpZ2hsaWdodD4NCiAgICA8SXNUZXh0PmZhbHNlPC9Jc1RleHQ+DQogIDwvTmFtZXNFeHQ+DQogIDxOYW1lc0V4dD4NCiAgICA8U2hvcnROYW1lPkM8L1Nob3J0TmFtZT4NCiAgICA8TG9uZ05hbWUgLz4NCiAgICA8QmFzZUNvbG9ySGV4PkZGQ0UwMDwvQmFzZUNvbG9ySGV4Pg0KICAgIDxDb250cmFzdGluZ0NvbG9ySGV4PjAwMDAwMDwvQ29udHJhc3RpbmdDb2xvckhleD4NCiAgICA8SXNIaWdobGlnaHQ+ZmFsc2U8L0lzSGlnaGxpZ2h0Pg0KICAgIDxJc1RleHQ+ZmFsc2U8L0lzVGV4dD4NCiAgPC9OYW1lc0V4dD4NCiAgPE5hbWVzRXh0Pg0KICAgIDxTaG9ydE5hbWU+RDwvU2hvcnROYW1lPg0KICAgIDxMb25nTmFtZSAvPg0KICAgIDxCYXNlQ29sb3JIZXg+MDBDRTAwPC9CYXNlQ29sb3JIZXg+DQogICAgPENvbnRyYXN0aW5nQ29sb3JIZXg+MDAwMDAwPC9Db250cmFzdGluZ0NvbG9ySGV4Pg0KICAgIDxJc0hpZ2hsaWdodD5mYWxzZTwvSXNIaWdobGlnaHQ+DQogICAgPElzVGV4dD5mYWxzZTwvSXNUZXh0Pg0KICA8L05hbWVzRXh0Pg0KICA8TmFtZXNFeHQ+DQogICAgPFNob3J0TmFtZT5FPC9TaG9ydE5hbWU+DQogICAgPExvbmdOYW1lIC8+DQogICAgPEJhc2VDb2xvckhleD40MTU5OEY8L0Jhc2VDb2xvckhleD4NCiAgICA8Q29udHJhc3RpbmdDb2xvckhleD5GRkZGRkY8L0NvbnRyYXN0aW5nQ29sb3JIZXg+DQogICAgPElzSGlnaGxpZ2h0PmZhbHNlPC9Jc0hpZ2hsaWdodD4NCiAgICA8SXNUZXh0PmZhbHNlPC9Jc1RleHQ+DQogIDwvTmFtZXNFeHQ+DQogIDxOYW1lc0V4dD4NCiAgICA8U2hvcnROYW1lPkY8L1Nob3J0TmFtZT4NCiAgICA8TG9uZ05hbWUgLz4NCiAgICA8QmFzZUNvbG9ySGV4PjAxMjE2OTwvQmFzZUNvbG9ySGV4Pg0KICAgIDxDb250cmFzdGluZ0NvbG9ySGV4PkZGRkZGRjwvQ29udHJhc3RpbmdDb2xvckhleD4NCiAgICA8SXNIaWdobGlnaHQ+ZmFsc2U8L0lzSGlnaGxpZ2h0Pg0KICAgIDxJc1RleHQ+ZmFsc2U8L0lzVGV4dD4NCiAgPC9OYW1lc0V4dD4NCiAgPE5hbWVzRXh0Pg0KICAgIDxTaG9ydE5hbWU+RzwvU2hvcnROYW1lPg0KICAgIDxMb25nTmFtZSAvPg0KICAgIDxCYXNlQ29sb3JIZXg+MDA5NzM5PC9CYXNlQ29sb3JIZXg+DQogICAgPENvbnRyYXN0aW5nQ29sb3JIZXg+RkZGRkZGPC9Db250cmFzdGluZ0NvbG9ySGV4Pg0KICAgIDxJc0hpZ2hsaWdodD5mYWxzZTwvSXNIaWdobGlnaHQ+DQogICAgPElzVGV4dD5mYWxzZTwvSXNUZXh0Pg0KICA8L05hbWVzRXh0Pg0KICA8TmFtZXNFeHQ+DQogICAgPFNob3J0TmFtZT5IPC9TaG9ydE5hbWU+DQogICAgPExvbmdOYW1lIC8+DQogICAgPEJhc2VDb2xvckhleD43RkM5OUY8L0Jhc2VDb2xvckhleD4NCiAgICA8Q29udHJhc3RpbmdDb2xvckhleD4wMDAwMDA8L0NvbnRyYXN0aW5nQ29sb3JIZXg+DQogICAgPElzSGlnaGxpZ2h0PmZhbHNlPC9Jc0hpZ2hsaWdodD4NCiAgICA8SXNUZXh0PmZhbHNlPC9Jc1RleHQ+DQogIDwvTmFtZXNFeHQ+DQogIDxOb3RlcyAvPg0KPC9NYXN0ZXJEYXRhPg==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89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89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90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90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225"/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226"/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22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74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74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771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770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18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6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6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72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25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BAINBULLETS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38"/>
  <p:tag name="BTFPCENTERX" val="50"/>
  <p:tag name="BTFPCENTERY" val="50"/>
  <p:tag name="BTFPHEIGHT" val="411.0001"/>
  <p:tag name="BTFPLAYOUTANCHOREBOTTOM" val="False"/>
  <p:tag name="BTFPLAYOUTANCHORELEFT" val="True"/>
  <p:tag name="BTFPLAYOUTANCHORERIGHT" val="True"/>
  <p:tag name="BTFPLAYOUTANCHORETOP" val="True"/>
  <p:tag name="BTFPLAYOUTENABLED" val="0"/>
  <p:tag name="BTFPWIDTH" val="87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39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37"/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68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69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0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7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7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8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21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217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6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6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8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30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6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6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86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87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688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19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1"/>
</p:tagLst>
</file>

<file path=ppt/theme/theme1.xml><?xml version="1.0" encoding="utf-8"?>
<a:theme xmlns:a="http://schemas.openxmlformats.org/drawingml/2006/main" name="M3UB_169_S1">
  <a:themeElements>
    <a:clrScheme name="M3UB_169_S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30600"/>
      </a:accent1>
      <a:accent2>
        <a:srgbClr val="183EFF"/>
      </a:accent2>
      <a:accent3>
        <a:srgbClr val="FFCE00"/>
      </a:accent3>
      <a:accent4>
        <a:srgbClr val="00CE00"/>
      </a:accent4>
      <a:accent5>
        <a:srgbClr val="41598F"/>
      </a:accent5>
      <a:accent6>
        <a:srgbClr val="012169"/>
      </a:accent6>
      <a:hlink>
        <a:srgbClr val="0563C1"/>
      </a:hlink>
      <a:folHlink>
        <a:srgbClr val="954F72"/>
      </a:folHlink>
    </a:clrScheme>
    <a:fontScheme name="M3UB_169_S1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lt1"/>
        </a:solidFill>
        <a:ln w="9525" cap="flat" cmpd="sng" algn="ctr">
          <a:solidFill>
            <a:schemeClr val="dk1"/>
          </a:solidFill>
          <a:prstDash val="solid"/>
          <a:miter lim="800000"/>
          <a:headEnd type="none" w="med" len="med"/>
          <a:tailEnd type="none" w="med" len="med"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kumimoji="1" dirty="0" err="1" smtClean="0">
            <a:solidFill>
              <a:schemeClr val="dk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 cmpd="sng" algn="ctr">
          <a:solidFill>
            <a:schemeClr val="dk1"/>
          </a:solidFill>
          <a:prstDash val="solid"/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none" lIns="91440" tIns="45720" rIns="91440" bIns="45720" rtlCol="0" anchor="t">
        <a:spAutoFit/>
      </a:bodyPr>
      <a:lstStyle>
        <a:defPPr marL="0" indent="0" algn="l" eaLnBrk="0">
          <a:buNone/>
          <a:defRPr kumimoji="1" dirty="0" err="1" smtClean="0">
            <a:solidFill>
              <a:schemeClr val="dk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3UB_169_S1.potx" id="{0086A585-38E0-4F35-9C2F-5306A31B99DC}" vid="{C2F338DA-DE68-4CCD-A6EE-C1023428F96E}"/>
    </a:ext>
  </a:extLst>
</a:theme>
</file>

<file path=ppt/theme/theme2.xml><?xml version="1.0" encoding="utf-8"?>
<a:theme xmlns:a="http://schemas.openxmlformats.org/drawingml/2006/main" name="2_M3UB_169_S1">
  <a:themeElements>
    <a:clrScheme name="M3UB_169_S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30600"/>
      </a:accent1>
      <a:accent2>
        <a:srgbClr val="183EFF"/>
      </a:accent2>
      <a:accent3>
        <a:srgbClr val="FFCE00"/>
      </a:accent3>
      <a:accent4>
        <a:srgbClr val="00CE00"/>
      </a:accent4>
      <a:accent5>
        <a:srgbClr val="41598F"/>
      </a:accent5>
      <a:accent6>
        <a:srgbClr val="012169"/>
      </a:accent6>
      <a:hlink>
        <a:srgbClr val="0563C1"/>
      </a:hlink>
      <a:folHlink>
        <a:srgbClr val="954F72"/>
      </a:folHlink>
    </a:clrScheme>
    <a:fontScheme name="M3UB_169_S1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lt1"/>
        </a:solidFill>
        <a:ln w="9525" cap="flat" cmpd="sng" algn="ctr">
          <a:solidFill>
            <a:schemeClr val="dk1"/>
          </a:solidFill>
          <a:prstDash val="solid"/>
          <a:miter lim="800000"/>
          <a:headEnd type="none" w="med" len="med"/>
          <a:tailEnd type="none" w="med" len="med"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kumimoji="1" dirty="0" err="1" smtClean="0">
            <a:solidFill>
              <a:schemeClr val="dk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 cmpd="sng" algn="ctr">
          <a:solidFill>
            <a:schemeClr val="dk1"/>
          </a:solidFill>
          <a:prstDash val="solid"/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none" lIns="91440" tIns="45720" rIns="91440" bIns="45720" rtlCol="0" anchor="t">
        <a:spAutoFit/>
      </a:bodyPr>
      <a:lstStyle>
        <a:defPPr marL="0" indent="0" algn="l" eaLnBrk="0">
          <a:buNone/>
          <a:defRPr kumimoji="1" dirty="0" err="1" smtClean="0">
            <a:solidFill>
              <a:schemeClr val="dk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3UB_169_S1.potx" id="{0086A585-38E0-4F35-9C2F-5306A31B99DC}" vid="{C2F338DA-DE68-4CCD-A6EE-C1023428F96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5ECD3A7B-2858-4C57-AD66-CC5E1E0220DC}">
  <we:reference id="70ed8778-2a1c-4697-8cf0-5cf67c93b7b6" version="2.2.2.14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13CDEBEB85094BA46127E99A509E77" ma:contentTypeVersion="14" ma:contentTypeDescription="Create a new document." ma:contentTypeScope="" ma:versionID="707d12e4d46acfb43cb7685907ebb21f">
  <xsd:schema xmlns:xsd="http://www.w3.org/2001/XMLSchema" xmlns:xs="http://www.w3.org/2001/XMLSchema" xmlns:p="http://schemas.microsoft.com/office/2006/metadata/properties" xmlns:ns2="e3a65bf1-7657-4bf9-bc20-fc1ee4a8b5b5" xmlns:ns3="9ffd20ac-5827-4288-b579-383f90e2daa4" targetNamespace="http://schemas.microsoft.com/office/2006/metadata/properties" ma:root="true" ma:fieldsID="8d067d38dd2b1b9917ccf33f328f6fbe" ns2:_="" ns3:_="">
    <xsd:import namespace="e3a65bf1-7657-4bf9-bc20-fc1ee4a8b5b5"/>
    <xsd:import namespace="9ffd20ac-5827-4288-b579-383f90e2daa4"/>
    <xsd:element name="properties">
      <xsd:complexType>
        <xsd:sequence>
          <xsd:element name="documentManagement">
            <xsd:complexType>
              <xsd:all>
                <xsd:element ref="ns2:xSherpaClassifyTag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a65bf1-7657-4bf9-bc20-fc1ee4a8b5b5" elementFormDefault="qualified">
    <xsd:import namespace="http://schemas.microsoft.com/office/2006/documentManagement/types"/>
    <xsd:import namespace="http://schemas.microsoft.com/office/infopath/2007/PartnerControls"/>
    <xsd:element name="xSherpaClassifyTag" ma:index="8" nillable="true" ma:displayName="xSherpaClassifyTag" ma:indexed="true" ma:internalName="xSherpaClassifyTag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fd20ac-5827-4288-b579-383f90e2daa4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a1e364c7-1bc6-4815-9a4d-fe99a75140ae}" ma:internalName="TaxCatchAll" ma:showField="CatchAllData" ma:web="9ffd20ac-5827-4288-b579-383f90e2da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3a65bf1-7657-4bf9-bc20-fc1ee4a8b5b5">
      <Terms xmlns="http://schemas.microsoft.com/office/infopath/2007/PartnerControls"/>
    </lcf76f155ced4ddcb4097134ff3c332f>
    <xSherpaClassifyTag xmlns="e3a65bf1-7657-4bf9-bc20-fc1ee4a8b5b5" xsi:nil="true"/>
    <TaxCatchAll xmlns="9ffd20ac-5827-4288-b579-383f90e2daa4" xsi:nil="true"/>
  </documentManagement>
</p:properties>
</file>

<file path=customXml/itemProps1.xml><?xml version="1.0" encoding="utf-8"?>
<ds:datastoreItem xmlns:ds="http://schemas.openxmlformats.org/officeDocument/2006/customXml" ds:itemID="{00C457D0-F370-4780-ACA3-0179BCC8A87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461E2E0-4C5D-4A22-88DA-9EF26080B8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a65bf1-7657-4bf9-bc20-fc1ee4a8b5b5"/>
    <ds:schemaRef ds:uri="9ffd20ac-5827-4288-b579-383f90e2da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894F7AE-7C28-4AE6-9E99-B2A7C2B1664F}">
  <ds:schemaRefs>
    <ds:schemaRef ds:uri="http://www.w3.org/XML/1998/namespace"/>
    <ds:schemaRef ds:uri="http://schemas.microsoft.com/office/2006/documentManagement/types"/>
    <ds:schemaRef ds:uri="http://schemas.microsoft.com/office/2006/metadata/properties"/>
    <ds:schemaRef ds:uri="9ffd20ac-5827-4288-b579-383f90e2daa4"/>
    <ds:schemaRef ds:uri="http://purl.org/dc/terms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e3a65bf1-7657-4bf9-bc20-fc1ee4a8b5b5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3UB_169_S1</Template>
  <TotalTime>2994</TotalTime>
  <Words>1202</Words>
  <Application>Microsoft Office PowerPoint</Application>
  <PresentationFormat>Widescreen</PresentationFormat>
  <Paragraphs>127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Yu Gothic</vt:lpstr>
      <vt:lpstr>Aptos</vt:lpstr>
      <vt:lpstr>Arial</vt:lpstr>
      <vt:lpstr>Avenir Next LT Pro Light</vt:lpstr>
      <vt:lpstr>Calibri</vt:lpstr>
      <vt:lpstr>Symbol</vt:lpstr>
      <vt:lpstr>M3UB_169_S1</vt:lpstr>
      <vt:lpstr>2_M3UB_169_S1</vt:lpstr>
      <vt:lpstr>think-cell Slide</vt:lpstr>
      <vt:lpstr>PowerPoint Presentation</vt:lpstr>
      <vt:lpstr>PowerPoint Presentation</vt:lpstr>
      <vt:lpstr>Critérios para mecanismos concessionais entrarem na Plataforma </vt:lpstr>
      <vt:lpstr>A BIP está focada em três setores principais</vt:lpstr>
      <vt:lpstr>Critérios excludentes para mecanismos entrarem na plataform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erve, Francisco</dc:creator>
  <cp:lastModifiedBy>Zamith, Giovana</cp:lastModifiedBy>
  <cp:revision>2</cp:revision>
  <cp:lastPrinted>2017-02-15T14:23:56Z</cp:lastPrinted>
  <dcterms:created xsi:type="dcterms:W3CDTF">2025-07-27T18:10:46Z</dcterms:created>
  <dcterms:modified xsi:type="dcterms:W3CDTF">2026-06-02T14:1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EE13CDEBEB85094BA46127E99A509E77</vt:lpwstr>
  </property>
  <property fmtid="{D5CDD505-2E9C-101B-9397-08002B2CF9AE}" pid="4" name="TaxCatchAll">
    <vt:lpwstr/>
  </property>
  <property fmtid="{D5CDD505-2E9C-101B-9397-08002B2CF9AE}" pid="5" name="Published">
    <vt:lpwstr>Draft</vt:lpwstr>
  </property>
</Properties>
</file>